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notesMasterIdLst>
    <p:notesMasterId r:id="rId15"/>
  </p:notesMasterIdLst>
  <p:handoutMasterIdLst>
    <p:handoutMasterId r:id="rId16"/>
  </p:handoutMasterIdLst>
  <p:sldIdLst>
    <p:sldId id="256" r:id="rId2"/>
    <p:sldId id="292" r:id="rId3"/>
    <p:sldId id="297" r:id="rId4"/>
    <p:sldId id="288" r:id="rId5"/>
    <p:sldId id="264" r:id="rId6"/>
    <p:sldId id="286" r:id="rId7"/>
    <p:sldId id="295" r:id="rId8"/>
    <p:sldId id="261" r:id="rId9"/>
    <p:sldId id="305" r:id="rId10"/>
    <p:sldId id="308" r:id="rId11"/>
    <p:sldId id="306" r:id="rId12"/>
    <p:sldId id="304" r:id="rId13"/>
    <p:sldId id="285" r:id="rId14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7">
          <p15:clr>
            <a:srgbClr val="A4A3A4"/>
          </p15:clr>
        </p15:guide>
        <p15:guide id="2" orient="horz" pos="862">
          <p15:clr>
            <a:srgbClr val="A4A3A4"/>
          </p15:clr>
        </p15:guide>
        <p15:guide id="3" orient="horz" pos="3004">
          <p15:clr>
            <a:srgbClr val="A4A3A4"/>
          </p15:clr>
        </p15:guide>
        <p15:guide id="4" orient="horz" pos="2785">
          <p15:clr>
            <a:srgbClr val="A4A3A4"/>
          </p15:clr>
        </p15:guide>
        <p15:guide id="5" pos="986">
          <p15:clr>
            <a:srgbClr val="A4A3A4"/>
          </p15:clr>
        </p15:guide>
        <p15:guide id="6" pos="1146">
          <p15:clr>
            <a:srgbClr val="A4A3A4"/>
          </p15:clr>
        </p15:guide>
        <p15:guide id="7" pos="1894">
          <p15:clr>
            <a:srgbClr val="A4A3A4"/>
          </p15:clr>
        </p15:guide>
        <p15:guide id="8" pos="2053">
          <p15:clr>
            <a:srgbClr val="A4A3A4"/>
          </p15:clr>
        </p15:guide>
        <p15:guide id="9" pos="2801">
          <p15:clr>
            <a:srgbClr val="A4A3A4"/>
          </p15:clr>
        </p15:guide>
        <p15:guide id="10" pos="2960">
          <p15:clr>
            <a:srgbClr val="A4A3A4"/>
          </p15:clr>
        </p15:guide>
        <p15:guide id="11" pos="3707">
          <p15:clr>
            <a:srgbClr val="A4A3A4"/>
          </p15:clr>
        </p15:guide>
        <p15:guide id="12" pos="3866">
          <p15:clr>
            <a:srgbClr val="A4A3A4"/>
          </p15:clr>
        </p15:guide>
        <p15:guide id="13" pos="4614">
          <p15:clr>
            <a:srgbClr val="A4A3A4"/>
          </p15:clr>
        </p15:guide>
        <p15:guide id="14" pos="4773">
          <p15:clr>
            <a:srgbClr val="A4A3A4"/>
          </p15:clr>
        </p15:guide>
        <p15:guide id="15" pos="5522">
          <p15:clr>
            <a:srgbClr val="A4A3A4"/>
          </p15:clr>
        </p15:guide>
        <p15:guide id="16" pos="2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zentkirály Benjámin" initials="SB" lastIdx="4" clrIdx="0">
    <p:extLst>
      <p:ext uri="{19B8F6BF-5375-455C-9EA6-DF929625EA0E}">
        <p15:presenceInfo xmlns:p15="http://schemas.microsoft.com/office/powerpoint/2012/main" userId="S-1-5-21-860690027-1875712010-911163043-415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0402"/>
    <a:srgbClr val="EA1C0A"/>
    <a:srgbClr val="E3E000"/>
    <a:srgbClr val="5CC1CB"/>
    <a:srgbClr val="FFFFFF"/>
    <a:srgbClr val="5CA3CB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tílus és rács nélkül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Közepesen sötét stíl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incs stílus, csak rács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4" autoAdjust="0"/>
    <p:restoredTop sz="93719" autoAdjust="0"/>
  </p:normalViewPr>
  <p:slideViewPr>
    <p:cSldViewPr snapToGrid="0" snapToObjects="1">
      <p:cViewPr varScale="1">
        <p:scale>
          <a:sx n="141" d="100"/>
          <a:sy n="141" d="100"/>
        </p:scale>
        <p:origin x="708" y="120"/>
      </p:cViewPr>
      <p:guideLst>
        <p:guide orient="horz" pos="237"/>
        <p:guide orient="horz" pos="862"/>
        <p:guide orient="horz" pos="3004"/>
        <p:guide orient="horz" pos="2785"/>
        <p:guide pos="986"/>
        <p:guide pos="1146"/>
        <p:guide pos="1894"/>
        <p:guide pos="2053"/>
        <p:guide pos="2801"/>
        <p:guide pos="2960"/>
        <p:guide pos="3707"/>
        <p:guide pos="3866"/>
        <p:guide pos="4614"/>
        <p:guide pos="4773"/>
        <p:guide pos="5522"/>
        <p:guide pos="237"/>
      </p:guideLst>
    </p:cSldViewPr>
  </p:slideViewPr>
  <p:outlineViewPr>
    <p:cViewPr>
      <p:scale>
        <a:sx n="33" d="100"/>
        <a:sy n="33" d="100"/>
      </p:scale>
      <p:origin x="0" y="-2240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1974" y="39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lupture</c:v>
                </c:pt>
              </c:strCache>
            </c:strRef>
          </c:tx>
          <c:spPr>
            <a:ln w="47625"/>
          </c:spPr>
          <c:marker>
            <c:symbol val="circle"/>
            <c:size val="10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0</c:v>
                </c:pt>
                <c:pt idx="1">
                  <c:v>40</c:v>
                </c:pt>
                <c:pt idx="2">
                  <c:v>55</c:v>
                </c:pt>
                <c:pt idx="3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DE-4925-B151-F6DCAB99A5D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boremip</c:v>
                </c:pt>
              </c:strCache>
            </c:strRef>
          </c:tx>
          <c:spPr>
            <a:ln w="47625"/>
          </c:spPr>
          <c:marker>
            <c:symbol val="circle"/>
            <c:size val="10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10</c:v>
                </c:pt>
                <c:pt idx="2">
                  <c:v>70</c:v>
                </c:pt>
                <c:pt idx="3">
                  <c:v>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DE-4925-B151-F6DCAB99A5D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eiunting</c:v>
                </c:pt>
              </c:strCache>
            </c:strRef>
          </c:tx>
          <c:spPr>
            <a:ln w="47625"/>
          </c:spPr>
          <c:marker>
            <c:symbol val="circle"/>
            <c:size val="10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50</c:v>
                </c:pt>
                <c:pt idx="1">
                  <c:v>30</c:v>
                </c:pt>
                <c:pt idx="2">
                  <c:v>35</c:v>
                </c:pt>
                <c:pt idx="3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DE-4925-B151-F6DCAB99A5DE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orum</c:v>
                </c:pt>
              </c:strCache>
            </c:strRef>
          </c:tx>
          <c:spPr>
            <a:ln w="47625"/>
          </c:spPr>
          <c:marker>
            <c:symbol val="circle"/>
            <c:size val="10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65</c:v>
                </c:pt>
                <c:pt idx="1">
                  <c:v>90</c:v>
                </c:pt>
                <c:pt idx="2">
                  <c:v>80</c:v>
                </c:pt>
                <c:pt idx="3">
                  <c:v>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8DE-4925-B151-F6DCAB99A5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74411272"/>
        <c:axId val="-2074408872"/>
      </c:lineChart>
      <c:catAx>
        <c:axId val="-2074411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2400">
                <a:latin typeface="+mj-lt"/>
              </a:defRPr>
            </a:pPr>
            <a:endParaRPr lang="hu-HU"/>
          </a:p>
        </c:txPr>
        <c:crossAx val="-2074408872"/>
        <c:crosses val="autoZero"/>
        <c:auto val="1"/>
        <c:lblAlgn val="ctr"/>
        <c:lblOffset val="100"/>
        <c:noMultiLvlLbl val="0"/>
      </c:catAx>
      <c:valAx>
        <c:axId val="-207440887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-2074411272"/>
        <c:crosses val="autoZero"/>
        <c:crossBetween val="between"/>
        <c:majorUnit val="25"/>
      </c:valAx>
    </c:plotArea>
    <c:legend>
      <c:legendPos val="b"/>
      <c:overlay val="0"/>
      <c:txPr>
        <a:bodyPr/>
        <a:lstStyle/>
        <a:p>
          <a:pPr>
            <a:defRPr sz="11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116231364451203"/>
          <c:y val="5.3806624499314198E-2"/>
          <c:w val="0.49754085638430701"/>
          <c:h val="0.617855867211087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lupture</c:v>
                </c:pt>
              </c:strCache>
            </c:strRef>
          </c:tx>
          <c:invertIfNegative val="0"/>
          <c:cat>
            <c:numRef>
              <c:f>Tabelle1!$A$2:$A$3</c:f>
              <c:numCache>
                <c:formatCode>General</c:formatCode>
                <c:ptCount val="2"/>
                <c:pt idx="0">
                  <c:v>2016</c:v>
                </c:pt>
                <c:pt idx="1">
                  <c:v>2017</c:v>
                </c:pt>
              </c:numCache>
            </c:num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5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20-4AE1-B56C-CE9A16ACD74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boremip</c:v>
                </c:pt>
              </c:strCache>
            </c:strRef>
          </c:tx>
          <c:invertIfNegative val="0"/>
          <c:cat>
            <c:numRef>
              <c:f>Tabelle1!$A$2:$A$3</c:f>
              <c:numCache>
                <c:formatCode>General</c:formatCode>
                <c:ptCount val="2"/>
                <c:pt idx="0">
                  <c:v>2016</c:v>
                </c:pt>
                <c:pt idx="1">
                  <c:v>2017</c:v>
                </c:pt>
              </c:numCache>
            </c:num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45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20-4AE1-B56C-CE9A16ACD74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eiunting</c:v>
                </c:pt>
              </c:strCache>
            </c:strRef>
          </c:tx>
          <c:invertIfNegative val="0"/>
          <c:cat>
            <c:numRef>
              <c:f>Tabelle1!$A$2:$A$3</c:f>
              <c:numCache>
                <c:formatCode>General</c:formatCode>
                <c:ptCount val="2"/>
                <c:pt idx="0">
                  <c:v>2016</c:v>
                </c:pt>
                <c:pt idx="1">
                  <c:v>2017</c:v>
                </c:pt>
              </c:numCache>
            </c:numRef>
          </c:cat>
          <c:val>
            <c:numRef>
              <c:f>Tabelle1!$D$2:$D$3</c:f>
              <c:numCache>
                <c:formatCode>General</c:formatCode>
                <c:ptCount val="2"/>
                <c:pt idx="0">
                  <c:v>60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20-4AE1-B56C-CE9A16ACD743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orum</c:v>
                </c:pt>
              </c:strCache>
            </c:strRef>
          </c:tx>
          <c:invertIfNegative val="0"/>
          <c:cat>
            <c:numRef>
              <c:f>Tabelle1!$A$2:$A$3</c:f>
              <c:numCache>
                <c:formatCode>General</c:formatCode>
                <c:ptCount val="2"/>
                <c:pt idx="0">
                  <c:v>2016</c:v>
                </c:pt>
                <c:pt idx="1">
                  <c:v>2017</c:v>
                </c:pt>
              </c:numCache>
            </c:numRef>
          </c:cat>
          <c:val>
            <c:numRef>
              <c:f>Tabelle1!$E$2:$E$3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20-4AE1-B56C-CE9A16ACD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2080031256"/>
        <c:axId val="-2079228104"/>
      </c:barChart>
      <c:catAx>
        <c:axId val="-2080031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2400">
                <a:latin typeface="+mj-lt"/>
              </a:defRPr>
            </a:pPr>
            <a:endParaRPr lang="hu-HU"/>
          </a:p>
        </c:txPr>
        <c:crossAx val="-2079228104"/>
        <c:crosses val="autoZero"/>
        <c:auto val="1"/>
        <c:lblAlgn val="ctr"/>
        <c:lblOffset val="100"/>
        <c:noMultiLvlLbl val="0"/>
      </c:catAx>
      <c:valAx>
        <c:axId val="-2079228104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-2080031256"/>
        <c:crosses val="autoZero"/>
        <c:crossBetween val="between"/>
        <c:majorUnit val="25"/>
      </c:valAx>
    </c:plotArea>
    <c:legend>
      <c:legendPos val="b"/>
      <c:overlay val="0"/>
      <c:txPr>
        <a:bodyPr/>
        <a:lstStyle/>
        <a:p>
          <a:pPr>
            <a:defRPr sz="11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233769770133197"/>
          <c:y val="6.9973031959746301E-2"/>
          <c:w val="0.47993537407247699"/>
          <c:h val="0.77784937087322203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Lbls>
            <c:dLbl>
              <c:idx val="0"/>
              <c:layout>
                <c:manualLayout>
                  <c:x val="0.14524495677233401"/>
                  <c:y val="-4.11022826036427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802-4C2A-ABD2-FCDD1715EC68}"/>
                </c:ext>
              </c:extLst>
            </c:dLbl>
            <c:dLbl>
              <c:idx val="1"/>
              <c:layout>
                <c:manualLayout>
                  <c:x val="0.106051873198847"/>
                  <c:y val="6.725828062414279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802-4C2A-ABD2-FCDD1715EC68}"/>
                </c:ext>
              </c:extLst>
            </c:dLbl>
            <c:dLbl>
              <c:idx val="2"/>
              <c:layout>
                <c:manualLayout>
                  <c:x val="1.1527377521613799E-2"/>
                  <c:y val="0.127043418956714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802-4C2A-ABD2-FCDD1715EC68}"/>
                </c:ext>
              </c:extLst>
            </c:dLbl>
            <c:dLbl>
              <c:idx val="3"/>
              <c:layout>
                <c:manualLayout>
                  <c:x val="-0.16368876080691599"/>
                  <c:y val="-6.72582806241426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802-4C2A-ABD2-FCDD1715EC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>
                    <a:latin typeface="+mj-lt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8</c:v>
                </c:pt>
                <c:pt idx="1">
                  <c:v>19</c:v>
                </c:pt>
                <c:pt idx="2">
                  <c:v>25</c:v>
                </c:pt>
                <c:pt idx="3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02-4C2A-ABD2-FCDD1715EC6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AA8582-6CEC-45E7-9C1E-4B29D5F20C9F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8D28F796-E11D-4DAC-96F8-2B767F834826}">
      <dgm:prSet phldrT="[Szöveg]"/>
      <dgm:spPr>
        <a:ln>
          <a:solidFill>
            <a:schemeClr val="accent1"/>
          </a:solidFill>
        </a:ln>
      </dgm:spPr>
      <dgm:t>
        <a:bodyPr/>
        <a:lstStyle/>
        <a:p>
          <a:r>
            <a:rPr lang="hu-HU" b="0" u="none">
              <a:solidFill>
                <a:schemeClr val="tx1"/>
              </a:solidFill>
              <a:latin typeface="+mn-lt"/>
            </a:rPr>
            <a:t>Súlyos</a:t>
          </a:r>
        </a:p>
      </dgm:t>
    </dgm:pt>
    <dgm:pt modelId="{74F89325-444B-41A4-9ED9-342EF14ABBE7}" type="parTrans" cxnId="{20777F58-BD47-420D-9CC4-43F5DFD2C2D8}">
      <dgm:prSet/>
      <dgm:spPr/>
      <dgm:t>
        <a:bodyPr/>
        <a:lstStyle/>
        <a:p>
          <a:endParaRPr lang="hu-HU"/>
        </a:p>
      </dgm:t>
    </dgm:pt>
    <dgm:pt modelId="{40C8974C-4310-4244-A648-4B1A9DBE14C4}" type="sibTrans" cxnId="{20777F58-BD47-420D-9CC4-43F5DFD2C2D8}">
      <dgm:prSet/>
      <dgm:spPr/>
      <dgm:t>
        <a:bodyPr/>
        <a:lstStyle/>
        <a:p>
          <a:endParaRPr lang="hu-HU"/>
        </a:p>
      </dgm:t>
    </dgm:pt>
    <dgm:pt modelId="{83DCD8C3-99AE-40E5-BA07-80BF3E926A1A}">
      <dgm:prSet phldrT="[Szöveg]"/>
      <dgm:spPr/>
      <dgm:t>
        <a:bodyPr/>
        <a:lstStyle/>
        <a:p>
          <a:pPr marL="57150"/>
          <a:r>
            <a:rPr lang="hu-HU"/>
            <a:t>A megrendelővel szembeni tisztességtelen regisztrált villanyszerelői magatartás.</a:t>
          </a:r>
        </a:p>
      </dgm:t>
    </dgm:pt>
    <dgm:pt modelId="{794CC5B0-5A1D-48E3-BADB-85B5C7BBAE31}" type="parTrans" cxnId="{BA26F923-2963-4BEC-B67C-A78AF9F82761}">
      <dgm:prSet/>
      <dgm:spPr/>
      <dgm:t>
        <a:bodyPr/>
        <a:lstStyle/>
        <a:p>
          <a:endParaRPr lang="hu-HU"/>
        </a:p>
      </dgm:t>
    </dgm:pt>
    <dgm:pt modelId="{EBA99FCC-25D8-4C4E-8CBE-6E1B6E9E56D7}" type="sibTrans" cxnId="{BA26F923-2963-4BEC-B67C-A78AF9F82761}">
      <dgm:prSet/>
      <dgm:spPr/>
      <dgm:t>
        <a:bodyPr/>
        <a:lstStyle/>
        <a:p>
          <a:endParaRPr lang="hu-HU"/>
        </a:p>
      </dgm:t>
    </dgm:pt>
    <dgm:pt modelId="{D6EA3C34-30AC-495A-95D7-A1D385EC4562}">
      <dgm:prSet phldrT="[Szöveg]"/>
      <dgm:spPr>
        <a:solidFill>
          <a:srgbClr val="EAE840"/>
        </a:solidFill>
      </dgm:spPr>
      <dgm:t>
        <a:bodyPr/>
        <a:lstStyle/>
        <a:p>
          <a:r>
            <a:rPr lang="hu-HU">
              <a:solidFill>
                <a:schemeClr val="tx1"/>
              </a:solidFill>
            </a:rPr>
            <a:t>Enyhe</a:t>
          </a:r>
        </a:p>
      </dgm:t>
    </dgm:pt>
    <dgm:pt modelId="{5594FE59-29F1-46D8-8F49-D5BFAECDD6EA}" type="parTrans" cxnId="{359B12CE-142E-4B4D-A4E8-C1E81A858771}">
      <dgm:prSet/>
      <dgm:spPr/>
      <dgm:t>
        <a:bodyPr/>
        <a:lstStyle/>
        <a:p>
          <a:endParaRPr lang="hu-HU"/>
        </a:p>
      </dgm:t>
    </dgm:pt>
    <dgm:pt modelId="{4C919B8F-97B3-4220-BFFF-07924B2E1583}" type="sibTrans" cxnId="{359B12CE-142E-4B4D-A4E8-C1E81A858771}">
      <dgm:prSet/>
      <dgm:spPr/>
      <dgm:t>
        <a:bodyPr/>
        <a:lstStyle/>
        <a:p>
          <a:endParaRPr lang="hu-HU"/>
        </a:p>
      </dgm:t>
    </dgm:pt>
    <dgm:pt modelId="{6475F302-19AC-40D4-AEEB-D81B2AB0230D}">
      <dgm:prSet phldrT="[Szöveg]"/>
      <dgm:spPr/>
      <dgm:t>
        <a:bodyPr/>
        <a:lstStyle/>
        <a:p>
          <a:r>
            <a:rPr lang="hu-HU"/>
            <a:t>Nem az előírásnak megfelelően készíti el a csatlakozási helyet. (Minden olyan hiba, ami a súlyos fokozatnál enyhébb.)</a:t>
          </a:r>
        </a:p>
      </dgm:t>
    </dgm:pt>
    <dgm:pt modelId="{68B49295-641B-4E04-9C54-A975E7526B68}" type="parTrans" cxnId="{0B010883-B6CC-47CD-891C-D388FDCBBF86}">
      <dgm:prSet/>
      <dgm:spPr/>
      <dgm:t>
        <a:bodyPr/>
        <a:lstStyle/>
        <a:p>
          <a:endParaRPr lang="hu-HU"/>
        </a:p>
      </dgm:t>
    </dgm:pt>
    <dgm:pt modelId="{400A7640-B95D-4CA9-8D0C-A7C75CF1A814}" type="sibTrans" cxnId="{0B010883-B6CC-47CD-891C-D388FDCBBF86}">
      <dgm:prSet/>
      <dgm:spPr/>
      <dgm:t>
        <a:bodyPr/>
        <a:lstStyle/>
        <a:p>
          <a:endParaRPr lang="hu-HU"/>
        </a:p>
      </dgm:t>
    </dgm:pt>
    <dgm:pt modelId="{A329E74D-8590-43A8-83F4-B587B6082CF4}">
      <dgm:prSet phldrT="[Szöveg]"/>
      <dgm:spPr/>
      <dgm:t>
        <a:bodyPr/>
        <a:lstStyle/>
        <a:p>
          <a:pPr marL="288000"/>
          <a:r>
            <a:rPr lang="hu-HU"/>
            <a:t>  Megrendelő számára okozott műszaki, gazdasági vagy erkölcsi károkozás.</a:t>
          </a:r>
        </a:p>
      </dgm:t>
    </dgm:pt>
    <dgm:pt modelId="{03D1CDB5-B75A-4E03-8066-374B12BF1BCB}" type="parTrans" cxnId="{F304CEBA-7F23-4C9F-8146-E3D96CCD18CA}">
      <dgm:prSet/>
      <dgm:spPr/>
      <dgm:t>
        <a:bodyPr/>
        <a:lstStyle/>
        <a:p>
          <a:endParaRPr lang="hu-HU"/>
        </a:p>
      </dgm:t>
    </dgm:pt>
    <dgm:pt modelId="{373CF294-3391-41D1-8B14-E0685AE41391}" type="sibTrans" cxnId="{F304CEBA-7F23-4C9F-8146-E3D96CCD18CA}">
      <dgm:prSet/>
      <dgm:spPr/>
      <dgm:t>
        <a:bodyPr/>
        <a:lstStyle/>
        <a:p>
          <a:endParaRPr lang="hu-HU"/>
        </a:p>
      </dgm:t>
    </dgm:pt>
    <dgm:pt modelId="{A7C6FE4D-4B84-4CDD-8EB3-02CF6E3CFB49}">
      <dgm:prSet phldrT="[Szöveg]"/>
      <dgm:spPr/>
      <dgm:t>
        <a:bodyPr/>
        <a:lstStyle/>
        <a:p>
          <a:pPr marL="57150"/>
          <a:r>
            <a:rPr lang="hu-HU"/>
            <a:t>Szabálytalan vételezés elősegítése.</a:t>
          </a:r>
        </a:p>
      </dgm:t>
    </dgm:pt>
    <dgm:pt modelId="{CDFDF6B8-FFCE-45F2-B11F-BA3DBEC327DE}" type="parTrans" cxnId="{506E3792-8633-4148-9FBA-D85170E32D21}">
      <dgm:prSet/>
      <dgm:spPr/>
      <dgm:t>
        <a:bodyPr/>
        <a:lstStyle/>
        <a:p>
          <a:endParaRPr lang="hu-HU"/>
        </a:p>
      </dgm:t>
    </dgm:pt>
    <dgm:pt modelId="{A9D41C23-374D-443B-BC0A-7E0C9C3C659B}" type="sibTrans" cxnId="{506E3792-8633-4148-9FBA-D85170E32D21}">
      <dgm:prSet/>
      <dgm:spPr/>
      <dgm:t>
        <a:bodyPr/>
        <a:lstStyle/>
        <a:p>
          <a:endParaRPr lang="hu-HU"/>
        </a:p>
      </dgm:t>
    </dgm:pt>
    <dgm:pt modelId="{422A201D-6755-4F63-9856-DA3F14D56FC1}">
      <dgm:prSet phldrT="[Szöveg]"/>
      <dgm:spPr/>
      <dgm:t>
        <a:bodyPr/>
        <a:lstStyle/>
        <a:p>
          <a:pPr marL="288000"/>
          <a:r>
            <a:rPr lang="hu-HU"/>
            <a:t>Szakszerűtlen, életveszélyes kivitelezés, vonatkozó szabványok, előírások figyelmen kívül hagyása.</a:t>
          </a:r>
        </a:p>
      </dgm:t>
    </dgm:pt>
    <dgm:pt modelId="{71D85BB5-A64B-45DF-9DB7-D2BE7D7B8A1B}" type="parTrans" cxnId="{779E27EC-2723-44CC-8928-B92DBF0AA6B8}">
      <dgm:prSet/>
      <dgm:spPr/>
      <dgm:t>
        <a:bodyPr/>
        <a:lstStyle/>
        <a:p>
          <a:endParaRPr lang="hu-HU"/>
        </a:p>
      </dgm:t>
    </dgm:pt>
    <dgm:pt modelId="{3AA685FD-7136-4E83-A4AB-F9F33AA3C5D9}" type="sibTrans" cxnId="{779E27EC-2723-44CC-8928-B92DBF0AA6B8}">
      <dgm:prSet/>
      <dgm:spPr/>
      <dgm:t>
        <a:bodyPr/>
        <a:lstStyle/>
        <a:p>
          <a:endParaRPr lang="hu-HU"/>
        </a:p>
      </dgm:t>
    </dgm:pt>
    <dgm:pt modelId="{1BBE7363-69C7-437E-86E4-943E495510B5}">
      <dgm:prSet phldrT="[Szöveg]"/>
      <dgm:spPr/>
      <dgm:t>
        <a:bodyPr/>
        <a:lstStyle/>
        <a:p>
          <a:pPr marL="57150"/>
          <a:r>
            <a:rPr lang="hu-HU"/>
            <a:t>Az  egyeztetett időpontra a helyszínen a kivitelezés nem készül el, a mérőhely nem került kialakításra</a:t>
          </a:r>
        </a:p>
      </dgm:t>
    </dgm:pt>
    <dgm:pt modelId="{608EC0CA-4A73-4B1E-A53F-79A57DEE6A30}" type="parTrans" cxnId="{92DB531A-8851-4522-9E65-4BFAAD666B19}">
      <dgm:prSet/>
      <dgm:spPr/>
      <dgm:t>
        <a:bodyPr/>
        <a:lstStyle/>
        <a:p>
          <a:endParaRPr lang="hu-HU"/>
        </a:p>
      </dgm:t>
    </dgm:pt>
    <dgm:pt modelId="{EBBA1986-002F-41F4-826B-82010EE3BB23}" type="sibTrans" cxnId="{92DB531A-8851-4522-9E65-4BFAAD666B19}">
      <dgm:prSet/>
      <dgm:spPr/>
      <dgm:t>
        <a:bodyPr/>
        <a:lstStyle/>
        <a:p>
          <a:endParaRPr lang="hu-HU"/>
        </a:p>
      </dgm:t>
    </dgm:pt>
    <dgm:pt modelId="{F1334AA3-D695-453D-B417-CE49E0CA7302}">
      <dgm:prSet phldrT="[Szöveg]"/>
      <dgm:spPr/>
      <dgm:t>
        <a:bodyPr/>
        <a:lstStyle/>
        <a:p>
          <a:pPr marL="57150"/>
          <a:r>
            <a:rPr lang="hu-HU"/>
            <a:t>A regisztrált szerelővel leegyeztetett időpontban senki nincs a helyszínen. </a:t>
          </a:r>
        </a:p>
      </dgm:t>
    </dgm:pt>
    <dgm:pt modelId="{DE995E3B-7AA7-4DBA-8362-46EF0F13279F}" type="parTrans" cxnId="{31AC485A-741C-409E-A255-ADB5C65F2227}">
      <dgm:prSet/>
      <dgm:spPr/>
      <dgm:t>
        <a:bodyPr/>
        <a:lstStyle/>
        <a:p>
          <a:endParaRPr lang="hu-HU"/>
        </a:p>
      </dgm:t>
    </dgm:pt>
    <dgm:pt modelId="{8E7231B4-E264-4E43-A031-5C0B7564B253}" type="sibTrans" cxnId="{31AC485A-741C-409E-A255-ADB5C65F2227}">
      <dgm:prSet/>
      <dgm:spPr/>
      <dgm:t>
        <a:bodyPr/>
        <a:lstStyle/>
        <a:p>
          <a:endParaRPr lang="hu-HU"/>
        </a:p>
      </dgm:t>
    </dgm:pt>
    <dgm:pt modelId="{B6B09952-1C56-440D-B653-3801D2F53F43}" type="pres">
      <dgm:prSet presAssocID="{C4AA8582-6CEC-45E7-9C1E-4B29D5F20C9F}" presName="Name0" presStyleCnt="0">
        <dgm:presLayoutVars>
          <dgm:dir/>
          <dgm:animLvl val="lvl"/>
          <dgm:resizeHandles val="exact"/>
        </dgm:presLayoutVars>
      </dgm:prSet>
      <dgm:spPr/>
    </dgm:pt>
    <dgm:pt modelId="{4D5A29A0-0045-4A1F-A50E-62C8E3BB2E33}" type="pres">
      <dgm:prSet presAssocID="{8D28F796-E11D-4DAC-96F8-2B767F834826}" presName="linNode" presStyleCnt="0"/>
      <dgm:spPr/>
    </dgm:pt>
    <dgm:pt modelId="{F107EF60-01BA-4DFE-8F47-17A2194143ED}" type="pres">
      <dgm:prSet presAssocID="{8D28F796-E11D-4DAC-96F8-2B767F834826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B00A3F63-7F27-4192-A84E-BD4B9DB8BC7C}" type="pres">
      <dgm:prSet presAssocID="{8D28F796-E11D-4DAC-96F8-2B767F834826}" presName="descendantText" presStyleLbl="alignAccFollowNode1" presStyleIdx="0" presStyleCnt="2">
        <dgm:presLayoutVars>
          <dgm:bulletEnabled val="1"/>
        </dgm:presLayoutVars>
      </dgm:prSet>
      <dgm:spPr/>
    </dgm:pt>
    <dgm:pt modelId="{3795F53D-C8FE-4C66-A16A-71B6132C9711}" type="pres">
      <dgm:prSet presAssocID="{40C8974C-4310-4244-A648-4B1A9DBE14C4}" presName="sp" presStyleCnt="0"/>
      <dgm:spPr/>
    </dgm:pt>
    <dgm:pt modelId="{F56AB23C-1A4F-4566-BC5E-F1D393EAF1EE}" type="pres">
      <dgm:prSet presAssocID="{D6EA3C34-30AC-495A-95D7-A1D385EC4562}" presName="linNode" presStyleCnt="0"/>
      <dgm:spPr/>
    </dgm:pt>
    <dgm:pt modelId="{56AD353D-2442-4FBA-9BB1-CD7F14053D3A}" type="pres">
      <dgm:prSet presAssocID="{D6EA3C34-30AC-495A-95D7-A1D385EC4562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96DB4081-5953-4AA9-A18C-202A902720FF}" type="pres">
      <dgm:prSet presAssocID="{D6EA3C34-30AC-495A-95D7-A1D385EC4562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92DB531A-8851-4522-9E65-4BFAAD666B19}" srcId="{8D28F796-E11D-4DAC-96F8-2B767F834826}" destId="{1BBE7363-69C7-437E-86E4-943E495510B5}" srcOrd="2" destOrd="0" parTransId="{608EC0CA-4A73-4B1E-A53F-79A57DEE6A30}" sibTransId="{EBBA1986-002F-41F4-826B-82010EE3BB23}"/>
    <dgm:cxn modelId="{BA26F923-2963-4BEC-B67C-A78AF9F82761}" srcId="{8D28F796-E11D-4DAC-96F8-2B767F834826}" destId="{83DCD8C3-99AE-40E5-BA07-80BF3E926A1A}" srcOrd="0" destOrd="0" parTransId="{794CC5B0-5A1D-48E3-BADB-85B5C7BBAE31}" sibTransId="{EBA99FCC-25D8-4C4E-8CBE-6E1B6E9E56D7}"/>
    <dgm:cxn modelId="{27CB0D4F-7012-441C-A386-455F8E3A0404}" type="presOf" srcId="{422A201D-6755-4F63-9856-DA3F14D56FC1}" destId="{B00A3F63-7F27-4192-A84E-BD4B9DB8BC7C}" srcOrd="0" destOrd="1" presId="urn:microsoft.com/office/officeart/2005/8/layout/vList5"/>
    <dgm:cxn modelId="{3E905352-3BC9-49E4-8DBE-4B6DD11BC8C6}" type="presOf" srcId="{A329E74D-8590-43A8-83F4-B587B6082CF4}" destId="{B00A3F63-7F27-4192-A84E-BD4B9DB8BC7C}" srcOrd="0" destOrd="2" presId="urn:microsoft.com/office/officeart/2005/8/layout/vList5"/>
    <dgm:cxn modelId="{20777F58-BD47-420D-9CC4-43F5DFD2C2D8}" srcId="{C4AA8582-6CEC-45E7-9C1E-4B29D5F20C9F}" destId="{8D28F796-E11D-4DAC-96F8-2B767F834826}" srcOrd="0" destOrd="0" parTransId="{74F89325-444B-41A4-9ED9-342EF14ABBE7}" sibTransId="{40C8974C-4310-4244-A648-4B1A9DBE14C4}"/>
    <dgm:cxn modelId="{31AC485A-741C-409E-A255-ADB5C65F2227}" srcId="{8D28F796-E11D-4DAC-96F8-2B767F834826}" destId="{F1334AA3-D695-453D-B417-CE49E0CA7302}" srcOrd="3" destOrd="0" parTransId="{DE995E3B-7AA7-4DBA-8362-46EF0F13279F}" sibTransId="{8E7231B4-E264-4E43-A031-5C0B7564B253}"/>
    <dgm:cxn modelId="{5EA8287B-6EF1-4B1A-958A-05F398A4BE49}" type="presOf" srcId="{A7C6FE4D-4B84-4CDD-8EB3-02CF6E3CFB49}" destId="{B00A3F63-7F27-4192-A84E-BD4B9DB8BC7C}" srcOrd="0" destOrd="3" presId="urn:microsoft.com/office/officeart/2005/8/layout/vList5"/>
    <dgm:cxn modelId="{A824317F-81B8-4642-8284-3A404633F135}" type="presOf" srcId="{6475F302-19AC-40D4-AEEB-D81B2AB0230D}" destId="{96DB4081-5953-4AA9-A18C-202A902720FF}" srcOrd="0" destOrd="0" presId="urn:microsoft.com/office/officeart/2005/8/layout/vList5"/>
    <dgm:cxn modelId="{0B010883-B6CC-47CD-891C-D388FDCBBF86}" srcId="{D6EA3C34-30AC-495A-95D7-A1D385EC4562}" destId="{6475F302-19AC-40D4-AEEB-D81B2AB0230D}" srcOrd="0" destOrd="0" parTransId="{68B49295-641B-4E04-9C54-A975E7526B68}" sibTransId="{400A7640-B95D-4CA9-8D0C-A7C75CF1A814}"/>
    <dgm:cxn modelId="{506E3792-8633-4148-9FBA-D85170E32D21}" srcId="{8D28F796-E11D-4DAC-96F8-2B767F834826}" destId="{A7C6FE4D-4B84-4CDD-8EB3-02CF6E3CFB49}" srcOrd="1" destOrd="0" parTransId="{CDFDF6B8-FFCE-45F2-B11F-BA3DBEC327DE}" sibTransId="{A9D41C23-374D-443B-BC0A-7E0C9C3C659B}"/>
    <dgm:cxn modelId="{B61ABC92-464C-4E9F-BA7A-BFBFF3329155}" type="presOf" srcId="{1BBE7363-69C7-437E-86E4-943E495510B5}" destId="{B00A3F63-7F27-4192-A84E-BD4B9DB8BC7C}" srcOrd="0" destOrd="4" presId="urn:microsoft.com/office/officeart/2005/8/layout/vList5"/>
    <dgm:cxn modelId="{E40810A3-B98A-49B5-AAE7-1C5508002C7D}" type="presOf" srcId="{C4AA8582-6CEC-45E7-9C1E-4B29D5F20C9F}" destId="{B6B09952-1C56-440D-B653-3801D2F53F43}" srcOrd="0" destOrd="0" presId="urn:microsoft.com/office/officeart/2005/8/layout/vList5"/>
    <dgm:cxn modelId="{080744B7-F2CD-4476-814F-4F6DD004F4DC}" type="presOf" srcId="{83DCD8C3-99AE-40E5-BA07-80BF3E926A1A}" destId="{B00A3F63-7F27-4192-A84E-BD4B9DB8BC7C}" srcOrd="0" destOrd="0" presId="urn:microsoft.com/office/officeart/2005/8/layout/vList5"/>
    <dgm:cxn modelId="{F304CEBA-7F23-4C9F-8146-E3D96CCD18CA}" srcId="{83DCD8C3-99AE-40E5-BA07-80BF3E926A1A}" destId="{A329E74D-8590-43A8-83F4-B587B6082CF4}" srcOrd="1" destOrd="0" parTransId="{03D1CDB5-B75A-4E03-8066-374B12BF1BCB}" sibTransId="{373CF294-3391-41D1-8B14-E0685AE41391}"/>
    <dgm:cxn modelId="{879518BD-20EF-4D19-AEAE-D9452C7BAAEC}" type="presOf" srcId="{F1334AA3-D695-453D-B417-CE49E0CA7302}" destId="{B00A3F63-7F27-4192-A84E-BD4B9DB8BC7C}" srcOrd="0" destOrd="5" presId="urn:microsoft.com/office/officeart/2005/8/layout/vList5"/>
    <dgm:cxn modelId="{AF7D92C9-D6FA-4751-899D-A96213AB7AA0}" type="presOf" srcId="{8D28F796-E11D-4DAC-96F8-2B767F834826}" destId="{F107EF60-01BA-4DFE-8F47-17A2194143ED}" srcOrd="0" destOrd="0" presId="urn:microsoft.com/office/officeart/2005/8/layout/vList5"/>
    <dgm:cxn modelId="{359B12CE-142E-4B4D-A4E8-C1E81A858771}" srcId="{C4AA8582-6CEC-45E7-9C1E-4B29D5F20C9F}" destId="{D6EA3C34-30AC-495A-95D7-A1D385EC4562}" srcOrd="1" destOrd="0" parTransId="{5594FE59-29F1-46D8-8F49-D5BFAECDD6EA}" sibTransId="{4C919B8F-97B3-4220-BFFF-07924B2E1583}"/>
    <dgm:cxn modelId="{779E27EC-2723-44CC-8928-B92DBF0AA6B8}" srcId="{83DCD8C3-99AE-40E5-BA07-80BF3E926A1A}" destId="{422A201D-6755-4F63-9856-DA3F14D56FC1}" srcOrd="0" destOrd="0" parTransId="{71D85BB5-A64B-45DF-9DB7-D2BE7D7B8A1B}" sibTransId="{3AA685FD-7136-4E83-A4AB-F9F33AA3C5D9}"/>
    <dgm:cxn modelId="{1AA6A3F9-65B9-497B-8B9C-A91DEB5C614B}" type="presOf" srcId="{D6EA3C34-30AC-495A-95D7-A1D385EC4562}" destId="{56AD353D-2442-4FBA-9BB1-CD7F14053D3A}" srcOrd="0" destOrd="0" presId="urn:microsoft.com/office/officeart/2005/8/layout/vList5"/>
    <dgm:cxn modelId="{F0463C5A-19E2-4FB4-8532-1BFCB98D6B5C}" type="presParOf" srcId="{B6B09952-1C56-440D-B653-3801D2F53F43}" destId="{4D5A29A0-0045-4A1F-A50E-62C8E3BB2E33}" srcOrd="0" destOrd="0" presId="urn:microsoft.com/office/officeart/2005/8/layout/vList5"/>
    <dgm:cxn modelId="{B3C69DD4-756A-457C-A00A-DA571DEDDDD1}" type="presParOf" srcId="{4D5A29A0-0045-4A1F-A50E-62C8E3BB2E33}" destId="{F107EF60-01BA-4DFE-8F47-17A2194143ED}" srcOrd="0" destOrd="0" presId="urn:microsoft.com/office/officeart/2005/8/layout/vList5"/>
    <dgm:cxn modelId="{7A5297EC-8E6C-4297-889C-852A0D2782D8}" type="presParOf" srcId="{4D5A29A0-0045-4A1F-A50E-62C8E3BB2E33}" destId="{B00A3F63-7F27-4192-A84E-BD4B9DB8BC7C}" srcOrd="1" destOrd="0" presId="urn:microsoft.com/office/officeart/2005/8/layout/vList5"/>
    <dgm:cxn modelId="{62B9B406-93B0-40B7-88FA-EFAFFABBD786}" type="presParOf" srcId="{B6B09952-1C56-440D-B653-3801D2F53F43}" destId="{3795F53D-C8FE-4C66-A16A-71B6132C9711}" srcOrd="1" destOrd="0" presId="urn:microsoft.com/office/officeart/2005/8/layout/vList5"/>
    <dgm:cxn modelId="{868787A6-B0CA-48B9-9198-5375E92A8AFD}" type="presParOf" srcId="{B6B09952-1C56-440D-B653-3801D2F53F43}" destId="{F56AB23C-1A4F-4566-BC5E-F1D393EAF1EE}" srcOrd="2" destOrd="0" presId="urn:microsoft.com/office/officeart/2005/8/layout/vList5"/>
    <dgm:cxn modelId="{71C77903-D6D0-4721-B2A5-F6255D06FF6E}" type="presParOf" srcId="{F56AB23C-1A4F-4566-BC5E-F1D393EAF1EE}" destId="{56AD353D-2442-4FBA-9BB1-CD7F14053D3A}" srcOrd="0" destOrd="0" presId="urn:microsoft.com/office/officeart/2005/8/layout/vList5"/>
    <dgm:cxn modelId="{BD9E3542-CCCE-4C39-B318-63C589E9B59D}" type="presParOf" srcId="{F56AB23C-1A4F-4566-BC5E-F1D393EAF1EE}" destId="{96DB4081-5953-4AA9-A18C-202A902720F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0A3F63-7F27-4192-A84E-BD4B9DB8BC7C}">
      <dsp:nvSpPr>
        <dsp:cNvPr id="0" name=""/>
        <dsp:cNvSpPr/>
      </dsp:nvSpPr>
      <dsp:spPr>
        <a:xfrm rot="5400000">
          <a:off x="1901299" y="-551617"/>
          <a:ext cx="880366" cy="22037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19050" bIns="9525" numCol="1" spcCol="1270" anchor="ctr" anchorCtr="0">
          <a:noAutofit/>
        </a:bodyPr>
        <a:lstStyle/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A megrendelővel szembeni tisztességtelen regisztrált villanyszerelői magatartás.</a:t>
          </a:r>
        </a:p>
        <a:p>
          <a:pPr marL="288000" lvl="2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Szakszerűtlen, életveszélyes kivitelezés, vonatkozó szabványok, előírások figyelmen kívül hagyása.</a:t>
          </a:r>
        </a:p>
        <a:p>
          <a:pPr marL="288000" lvl="2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  Megrendelő számára okozott műszaki, gazdasági vagy erkölcsi károkozás.</a:t>
          </a:r>
        </a:p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Szabálytalan vételezés elősegítése.</a:t>
          </a:r>
        </a:p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Az  egyeztetett időpontra a helyszínen a kivitelezés nem készül el, a mérőhely nem került kialakításra</a:t>
          </a:r>
        </a:p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A regisztrált szerelővel leegyeztetett időpontban senki nincs a helyszínen. </a:t>
          </a:r>
        </a:p>
      </dsp:txBody>
      <dsp:txXfrm rot="-5400000">
        <a:off x="1239609" y="153049"/>
        <a:ext cx="2160771" cy="794414"/>
      </dsp:txXfrm>
    </dsp:sp>
    <dsp:sp modelId="{F107EF60-01BA-4DFE-8F47-17A2194143ED}">
      <dsp:nvSpPr>
        <dsp:cNvPr id="0" name=""/>
        <dsp:cNvSpPr/>
      </dsp:nvSpPr>
      <dsp:spPr>
        <a:xfrm>
          <a:off x="0" y="27"/>
          <a:ext cx="1239608" cy="11004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u-HU" sz="2600" b="0" u="none" kern="1200">
              <a:solidFill>
                <a:schemeClr val="tx1"/>
              </a:solidFill>
              <a:latin typeface="+mn-lt"/>
            </a:rPr>
            <a:t>Súlyos</a:t>
          </a:r>
        </a:p>
      </dsp:txBody>
      <dsp:txXfrm>
        <a:off x="53720" y="53747"/>
        <a:ext cx="1132168" cy="993017"/>
      </dsp:txXfrm>
    </dsp:sp>
    <dsp:sp modelId="{96DB4081-5953-4AA9-A18C-202A902720FF}">
      <dsp:nvSpPr>
        <dsp:cNvPr id="0" name=""/>
        <dsp:cNvSpPr/>
      </dsp:nvSpPr>
      <dsp:spPr>
        <a:xfrm rot="5400000">
          <a:off x="1901299" y="603862"/>
          <a:ext cx="880366" cy="22037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19050" bIns="9525" numCol="1" spcCol="1270" anchor="ctr" anchorCtr="0">
          <a:noAutofit/>
        </a:bodyPr>
        <a:lstStyle/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500" kern="1200"/>
            <a:t>Nem az előírásnak megfelelően készíti el a csatlakozási helyet. (Minden olyan hiba, ami a súlyos fokozatnál enyhébb.)</a:t>
          </a:r>
        </a:p>
      </dsp:txBody>
      <dsp:txXfrm rot="-5400000">
        <a:off x="1239609" y="1308528"/>
        <a:ext cx="2160771" cy="794414"/>
      </dsp:txXfrm>
    </dsp:sp>
    <dsp:sp modelId="{56AD353D-2442-4FBA-9BB1-CD7F14053D3A}">
      <dsp:nvSpPr>
        <dsp:cNvPr id="0" name=""/>
        <dsp:cNvSpPr/>
      </dsp:nvSpPr>
      <dsp:spPr>
        <a:xfrm>
          <a:off x="0" y="1155507"/>
          <a:ext cx="1239608" cy="1100457"/>
        </a:xfrm>
        <a:prstGeom prst="roundRect">
          <a:avLst/>
        </a:prstGeom>
        <a:solidFill>
          <a:srgbClr val="EAE84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u-HU" sz="2600" kern="1200">
              <a:solidFill>
                <a:schemeClr val="tx1"/>
              </a:solidFill>
            </a:rPr>
            <a:t>Enyhe</a:t>
          </a:r>
        </a:p>
      </dsp:txBody>
      <dsp:txXfrm>
        <a:off x="53720" y="1209227"/>
        <a:ext cx="1132168" cy="9930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808</cdr:x>
      <cdr:y>0.31112</cdr:y>
    </cdr:from>
    <cdr:to>
      <cdr:x>0.31364</cdr:x>
      <cdr:y>0.37467</cdr:y>
    </cdr:to>
    <cdr:sp macro="" textlink="">
      <cdr:nvSpPr>
        <cdr:cNvPr id="2" name="Textfeld 12"/>
        <cdr:cNvSpPr txBox="1"/>
      </cdr:nvSpPr>
      <cdr:spPr>
        <a:xfrm xmlns:a="http://schemas.openxmlformats.org/drawingml/2006/main">
          <a:off x="540277" y="1057454"/>
          <a:ext cx="1187439" cy="21599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b">
          <a:no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400" dirty="0" err="1"/>
            <a:t>Lorem</a:t>
          </a:r>
          <a:r>
            <a:rPr lang="fr-FR" sz="1400" dirty="0"/>
            <a:t> </a:t>
          </a:r>
          <a:r>
            <a:rPr lang="fr-FR" sz="1400" dirty="0" err="1"/>
            <a:t>ipsum</a:t>
          </a:r>
          <a:endParaRPr lang="fr-FR" sz="14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09832-9B74-420C-8D1C-742B40C38B3E}" type="datetimeFigureOut">
              <a:rPr lang="de-DE" smtClean="0"/>
              <a:pPr/>
              <a:t>02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BB21D2-EE0C-4F60-9290-A95707687EA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09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BD20B-1595-4AD5-8C42-650ED0B09BCC}" type="datetimeFigureOut">
              <a:rPr lang="de-DE" smtClean="0"/>
              <a:pPr/>
              <a:t>02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88022-2B66-4C3B-913E-DF7D5DD0D6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464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88022-2B66-4C3B-913E-DF7D5DD0D66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256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88022-2B66-4C3B-913E-DF7D5DD0D66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528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8.emf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60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60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138000" y="522000"/>
            <a:ext cx="1440000" cy="144000"/>
          </a:xfrm>
        </p:spPr>
        <p:txBody>
          <a:bodyPr/>
          <a:lstStyle>
            <a:lvl1pPr algn="r">
              <a:defRPr/>
            </a:lvl1pPr>
          </a:lstStyle>
          <a:p>
            <a:fld id="{6394DE46-67F8-4FFE-95AE-7EBBB32994E3}" type="datetime1">
              <a:rPr lang="hu-HU" smtClean="0"/>
              <a:t>2022. 05. 02.</a:t>
            </a:fld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3520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" name="EON_Logo_r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795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C745DA7-8189-4D1E-BC85-8CC63685D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Text </a:t>
            </a:r>
            <a:r>
              <a:rPr lang="hu-HU" dirty="0" err="1"/>
              <a:t>Horizontal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C2B1A77D-6B6D-4131-9E9B-5F1BD4887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4AA4B-E6BB-480D-BFFB-74C1A1444268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8CA2FE9-6F21-4C68-8E66-219F7096D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CD4572E-6AAD-478A-B96A-CD1D480B9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742F06F4-6006-4CD3-B5EA-642984A61DDD}"/>
              </a:ext>
            </a:extLst>
          </p:cNvPr>
          <p:cNvSpPr/>
          <p:nvPr userDrawn="1"/>
        </p:nvSpPr>
        <p:spPr>
          <a:xfrm>
            <a:off x="378000" y="1418896"/>
            <a:ext cx="1644869" cy="11351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E9347D5A-4C87-4AE0-ABE7-2F109AA62B27}"/>
              </a:ext>
            </a:extLst>
          </p:cNvPr>
          <p:cNvSpPr/>
          <p:nvPr userDrawn="1"/>
        </p:nvSpPr>
        <p:spPr>
          <a:xfrm>
            <a:off x="378000" y="2874909"/>
            <a:ext cx="1644869" cy="1135117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7BE862EF-D3F2-49C3-8BDC-F70D657022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999" y="1419007"/>
            <a:ext cx="1644869" cy="1135006"/>
          </a:xfrm>
        </p:spPr>
        <p:txBody>
          <a:bodyPr lIns="72000" tIns="72000" bIns="72000" anchor="t"/>
          <a:lstStyle>
            <a:lvl1pPr algn="l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51A15E67-2951-4FFA-BE0D-4908489110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98" y="2875020"/>
            <a:ext cx="1644869" cy="1135006"/>
          </a:xfrm>
        </p:spPr>
        <p:txBody>
          <a:bodyPr lIns="72000" tIns="72000" bIns="72000" anchor="t"/>
          <a:lstStyle>
            <a:lvl1pPr algn="l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E2041D9-AE97-4E4A-AE47-BDCC0E9911C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2453793" y="1418896"/>
            <a:ext cx="2365200" cy="1135117"/>
          </a:xfrm>
        </p:spPr>
        <p:txBody>
          <a:bodyPr tIns="180000">
            <a:noAutofit/>
          </a:bodyPr>
          <a:lstStyle>
            <a:lvl1pPr>
              <a:defRPr sz="1400"/>
            </a:lvl1pPr>
            <a:lvl2pPr>
              <a:spcAft>
                <a:spcPts val="20"/>
              </a:spcAft>
              <a:defRPr sz="1400"/>
            </a:lvl2pPr>
            <a:lvl3pPr>
              <a:spcAft>
                <a:spcPts val="20"/>
              </a:spcAft>
              <a:defRPr sz="1400"/>
            </a:lvl3pPr>
            <a:lvl4pPr>
              <a:spcAft>
                <a:spcPts val="20"/>
              </a:spcAft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CED1B02-6960-4F7D-BA63-93534BE7623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2453793" y="2875020"/>
            <a:ext cx="2365200" cy="1135117"/>
          </a:xfrm>
        </p:spPr>
        <p:txBody>
          <a:bodyPr tIns="180000">
            <a:noAutofit/>
          </a:bodyPr>
          <a:lstStyle>
            <a:lvl1pPr>
              <a:defRPr sz="1400"/>
            </a:lvl1pPr>
            <a:lvl2pPr>
              <a:spcAft>
                <a:spcPts val="20"/>
              </a:spcAft>
              <a:defRPr sz="1400"/>
            </a:lvl2pPr>
            <a:lvl3pPr>
              <a:spcAft>
                <a:spcPts val="20"/>
              </a:spcAft>
              <a:defRPr sz="1400"/>
            </a:lvl3pPr>
            <a:lvl4pPr>
              <a:spcAft>
                <a:spcPts val="20"/>
              </a:spcAft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1668916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Kép 29">
            <a:extLst>
              <a:ext uri="{FF2B5EF4-FFF2-40B4-BE49-F238E27FC236}">
                <a16:creationId xmlns:a16="http://schemas.microsoft.com/office/drawing/2014/main" id="{978CF61A-0F04-43A5-AF84-A34D7BA72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837"/>
          <a:stretch/>
        </p:blipFill>
        <p:spPr>
          <a:xfrm rot="20907122">
            <a:off x="1779499" y="2789629"/>
            <a:ext cx="414084" cy="765163"/>
          </a:xfrm>
          <a:prstGeom prst="rect">
            <a:avLst/>
          </a:prstGeom>
        </p:spPr>
      </p:pic>
      <p:sp>
        <p:nvSpPr>
          <p:cNvPr id="15" name="Szöveg helye 20">
            <a:extLst>
              <a:ext uri="{FF2B5EF4-FFF2-40B4-BE49-F238E27FC236}">
                <a16:creationId xmlns:a16="http://schemas.microsoft.com/office/drawing/2014/main" id="{E9E2799A-C3CE-475B-B99A-F2D279223A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8000" y="3554362"/>
            <a:ext cx="1450259" cy="1052046"/>
          </a:xfrm>
          <a:solidFill>
            <a:srgbClr val="EA1C0A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9" name="Szöveg helye 20">
            <a:extLst>
              <a:ext uri="{FF2B5EF4-FFF2-40B4-BE49-F238E27FC236}">
                <a16:creationId xmlns:a16="http://schemas.microsoft.com/office/drawing/2014/main" id="{2FFBB8CC-353B-446B-8507-42EE0D03B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4271" y="3086037"/>
            <a:ext cx="1450259" cy="1052046"/>
          </a:xfrm>
          <a:solidFill>
            <a:srgbClr val="EA1C0A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4" name="Szöveg helye 20">
            <a:extLst>
              <a:ext uri="{FF2B5EF4-FFF2-40B4-BE49-F238E27FC236}">
                <a16:creationId xmlns:a16="http://schemas.microsoft.com/office/drawing/2014/main" id="{F6B39616-FC5A-4D3C-A3D9-42E7C96CE4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542" y="2502316"/>
            <a:ext cx="1450259" cy="1052046"/>
          </a:xfrm>
          <a:solidFill>
            <a:srgbClr val="EA1C0A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7" name="Szöveg helye 20">
            <a:extLst>
              <a:ext uri="{FF2B5EF4-FFF2-40B4-BE49-F238E27FC236}">
                <a16:creationId xmlns:a16="http://schemas.microsoft.com/office/drawing/2014/main" id="{E9E430E8-773F-4BFB-9153-1C0B050C23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26813" y="2033991"/>
            <a:ext cx="1450259" cy="1052046"/>
          </a:xfrm>
          <a:solidFill>
            <a:srgbClr val="EA1C0A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9" name="Szöveg helye 20">
            <a:extLst>
              <a:ext uri="{FF2B5EF4-FFF2-40B4-BE49-F238E27FC236}">
                <a16:creationId xmlns:a16="http://schemas.microsoft.com/office/drawing/2014/main" id="{F3CFF1FA-79BB-4D41-A8F7-16C5CA843F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3084" y="1450270"/>
            <a:ext cx="1450259" cy="1052046"/>
          </a:xfrm>
          <a:solidFill>
            <a:srgbClr val="EA1C0A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8" name="Ív 7">
            <a:extLst>
              <a:ext uri="{FF2B5EF4-FFF2-40B4-BE49-F238E27FC236}">
                <a16:creationId xmlns:a16="http://schemas.microsoft.com/office/drawing/2014/main" id="{F88767EE-1E26-49FF-8314-0F488C2FC5E0}"/>
              </a:ext>
            </a:extLst>
          </p:cNvPr>
          <p:cNvSpPr/>
          <p:nvPr userDrawn="1"/>
        </p:nvSpPr>
        <p:spPr>
          <a:xfrm rot="15714725">
            <a:off x="1590097" y="3011130"/>
            <a:ext cx="742335" cy="1086465"/>
          </a:xfrm>
          <a:prstGeom prst="arc">
            <a:avLst>
              <a:gd name="adj1" fmla="val 17055540"/>
              <a:gd name="adj2" fmla="val 0"/>
            </a:avLst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2" name="Szöveg helye 11">
            <a:extLst>
              <a:ext uri="{FF2B5EF4-FFF2-40B4-BE49-F238E27FC236}">
                <a16:creationId xmlns:a16="http://schemas.microsoft.com/office/drawing/2014/main" id="{1CD3F963-360C-4681-9052-1D17402ADA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1850" y="4138640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48" name="Szöveg helye 11">
            <a:extLst>
              <a:ext uri="{FF2B5EF4-FFF2-40B4-BE49-F238E27FC236}">
                <a16:creationId xmlns:a16="http://schemas.microsoft.com/office/drawing/2014/main" id="{E49E85EC-59F9-464F-A2D2-EC243CAA13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542" y="3554362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49" name="Szöveg helye 11">
            <a:extLst>
              <a:ext uri="{FF2B5EF4-FFF2-40B4-BE49-F238E27FC236}">
                <a16:creationId xmlns:a16="http://schemas.microsoft.com/office/drawing/2014/main" id="{64807991-16B0-414C-9ADF-2D95C213EF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27225" y="3086037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50" name="Szöveg helye 11">
            <a:extLst>
              <a:ext uri="{FF2B5EF4-FFF2-40B4-BE49-F238E27FC236}">
                <a16:creationId xmlns:a16="http://schemas.microsoft.com/office/drawing/2014/main" id="{7EF0F1F0-4AC7-4527-B0CE-96E6FF6D18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5579" y="4606408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51" name="Szöveg helye 11">
            <a:extLst>
              <a:ext uri="{FF2B5EF4-FFF2-40B4-BE49-F238E27FC236}">
                <a16:creationId xmlns:a16="http://schemas.microsoft.com/office/drawing/2014/main" id="{2D8D218E-8871-47C9-AC1A-A39B4A4AA9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50663" y="2502316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pic>
        <p:nvPicPr>
          <p:cNvPr id="52" name="Kép 51">
            <a:extLst>
              <a:ext uri="{FF2B5EF4-FFF2-40B4-BE49-F238E27FC236}">
                <a16:creationId xmlns:a16="http://schemas.microsoft.com/office/drawing/2014/main" id="{401313D4-9742-4FBE-931B-C29BDF342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837"/>
          <a:stretch/>
        </p:blipFill>
        <p:spPr>
          <a:xfrm rot="20907122">
            <a:off x="3553494" y="2308555"/>
            <a:ext cx="414084" cy="765163"/>
          </a:xfrm>
          <a:prstGeom prst="rect">
            <a:avLst/>
          </a:prstGeom>
        </p:spPr>
      </p:pic>
      <p:sp>
        <p:nvSpPr>
          <p:cNvPr id="53" name="Ív 52">
            <a:extLst>
              <a:ext uri="{FF2B5EF4-FFF2-40B4-BE49-F238E27FC236}">
                <a16:creationId xmlns:a16="http://schemas.microsoft.com/office/drawing/2014/main" id="{44061561-875F-483B-991D-C76F99D7DE98}"/>
              </a:ext>
            </a:extLst>
          </p:cNvPr>
          <p:cNvSpPr/>
          <p:nvPr userDrawn="1"/>
        </p:nvSpPr>
        <p:spPr>
          <a:xfrm rot="15714725">
            <a:off x="3364092" y="2530056"/>
            <a:ext cx="742335" cy="1086465"/>
          </a:xfrm>
          <a:prstGeom prst="arc">
            <a:avLst>
              <a:gd name="adj1" fmla="val 17055540"/>
              <a:gd name="adj2" fmla="val 0"/>
            </a:avLst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pic>
        <p:nvPicPr>
          <p:cNvPr id="54" name="Kép 53">
            <a:extLst>
              <a:ext uri="{FF2B5EF4-FFF2-40B4-BE49-F238E27FC236}">
                <a16:creationId xmlns:a16="http://schemas.microsoft.com/office/drawing/2014/main" id="{2295DAFC-BF6E-44D5-A4B4-FD01D26174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837"/>
          <a:stretch/>
        </p:blipFill>
        <p:spPr>
          <a:xfrm rot="20907122">
            <a:off x="5242534" y="1737581"/>
            <a:ext cx="414084" cy="765163"/>
          </a:xfrm>
          <a:prstGeom prst="rect">
            <a:avLst/>
          </a:prstGeom>
        </p:spPr>
      </p:pic>
      <p:sp>
        <p:nvSpPr>
          <p:cNvPr id="55" name="Ív 54">
            <a:extLst>
              <a:ext uri="{FF2B5EF4-FFF2-40B4-BE49-F238E27FC236}">
                <a16:creationId xmlns:a16="http://schemas.microsoft.com/office/drawing/2014/main" id="{B3AF7F8F-317F-43D4-80A6-B49C35D71354}"/>
              </a:ext>
            </a:extLst>
          </p:cNvPr>
          <p:cNvSpPr/>
          <p:nvPr userDrawn="1"/>
        </p:nvSpPr>
        <p:spPr>
          <a:xfrm rot="15714725">
            <a:off x="5053132" y="1959082"/>
            <a:ext cx="742335" cy="1086465"/>
          </a:xfrm>
          <a:prstGeom prst="arc">
            <a:avLst>
              <a:gd name="adj1" fmla="val 17055540"/>
              <a:gd name="adj2" fmla="val 0"/>
            </a:avLst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pic>
        <p:nvPicPr>
          <p:cNvPr id="56" name="Kép 55">
            <a:extLst>
              <a:ext uri="{FF2B5EF4-FFF2-40B4-BE49-F238E27FC236}">
                <a16:creationId xmlns:a16="http://schemas.microsoft.com/office/drawing/2014/main" id="{8C6A22AD-F9C4-454D-82C2-E522EE9A28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837"/>
          <a:stretch/>
        </p:blipFill>
        <p:spPr>
          <a:xfrm rot="20907122">
            <a:off x="7003891" y="1269257"/>
            <a:ext cx="414084" cy="765163"/>
          </a:xfrm>
          <a:prstGeom prst="rect">
            <a:avLst/>
          </a:prstGeom>
        </p:spPr>
      </p:pic>
      <p:sp>
        <p:nvSpPr>
          <p:cNvPr id="57" name="Ív 56">
            <a:extLst>
              <a:ext uri="{FF2B5EF4-FFF2-40B4-BE49-F238E27FC236}">
                <a16:creationId xmlns:a16="http://schemas.microsoft.com/office/drawing/2014/main" id="{490A4BFE-A2C7-4116-BF2C-9069323F3B3C}"/>
              </a:ext>
            </a:extLst>
          </p:cNvPr>
          <p:cNvSpPr/>
          <p:nvPr userDrawn="1"/>
        </p:nvSpPr>
        <p:spPr>
          <a:xfrm rot="15714725">
            <a:off x="6814489" y="1490758"/>
            <a:ext cx="742335" cy="1086465"/>
          </a:xfrm>
          <a:prstGeom prst="arc">
            <a:avLst>
              <a:gd name="adj1" fmla="val 17055540"/>
              <a:gd name="adj2" fmla="val 0"/>
            </a:avLst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9F5327CB-A7D4-48AE-9916-8A7499899E6B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Steps</a:t>
            </a:r>
            <a:endParaRPr lang="en-GB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A63A22BD-37C9-4AE0-A3E4-9C2FA2238F3A}"/>
              </a:ext>
            </a:extLst>
          </p:cNvPr>
          <p:cNvSpPr txBox="1">
            <a:spLocks/>
          </p:cNvSpPr>
          <p:nvPr userDrawn="1"/>
        </p:nvSpPr>
        <p:spPr>
          <a:xfrm>
            <a:off x="6933816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8EB5D731-4ED4-48F4-B789-8EDB10339E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0A44B65-BFF8-4DF8-A80F-608C13FBA50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5" name="Dia számának helye 4">
            <a:extLst>
              <a:ext uri="{FF2B5EF4-FFF2-40B4-BE49-F238E27FC236}">
                <a16:creationId xmlns:a16="http://schemas.microsoft.com/office/drawing/2014/main" id="{496B0435-7B2B-49CB-A7E5-8CF90E6EB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44872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zöveg helye 20">
            <a:extLst>
              <a:ext uri="{FF2B5EF4-FFF2-40B4-BE49-F238E27FC236}">
                <a16:creationId xmlns:a16="http://schemas.microsoft.com/office/drawing/2014/main" id="{E9E2799A-C3CE-475B-B99A-F2D279223A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5579" y="3725140"/>
            <a:ext cx="1206614" cy="659561"/>
          </a:xfrm>
          <a:solidFill>
            <a:srgbClr val="EA1C0A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2" name="Szöveg helye 11">
            <a:extLst>
              <a:ext uri="{FF2B5EF4-FFF2-40B4-BE49-F238E27FC236}">
                <a16:creationId xmlns:a16="http://schemas.microsoft.com/office/drawing/2014/main" id="{1CD3F963-360C-4681-9052-1D17402ADA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2436" y="4015609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48" name="Szöveg helye 11">
            <a:extLst>
              <a:ext uri="{FF2B5EF4-FFF2-40B4-BE49-F238E27FC236}">
                <a16:creationId xmlns:a16="http://schemas.microsoft.com/office/drawing/2014/main" id="{E49E85EC-59F9-464F-A2D2-EC243CAA13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5638" y="3607144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49" name="Szöveg helye 11">
            <a:extLst>
              <a:ext uri="{FF2B5EF4-FFF2-40B4-BE49-F238E27FC236}">
                <a16:creationId xmlns:a16="http://schemas.microsoft.com/office/drawing/2014/main" id="{64807991-16B0-414C-9ADF-2D95C213EF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38840" y="3236601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50" name="Szöveg helye 11">
            <a:extLst>
              <a:ext uri="{FF2B5EF4-FFF2-40B4-BE49-F238E27FC236}">
                <a16:creationId xmlns:a16="http://schemas.microsoft.com/office/drawing/2014/main" id="{7EF0F1F0-4AC7-4527-B0CE-96E6FF6D18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8000" y="4431423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51" name="Szöveg helye 11">
            <a:extLst>
              <a:ext uri="{FF2B5EF4-FFF2-40B4-BE49-F238E27FC236}">
                <a16:creationId xmlns:a16="http://schemas.microsoft.com/office/drawing/2014/main" id="{2D8D218E-8871-47C9-AC1A-A39B4A4AA9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52517" y="2831168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27" name="Fußzeilenplatzhalter 6">
            <a:extLst>
              <a:ext uri="{FF2B5EF4-FFF2-40B4-BE49-F238E27FC236}">
                <a16:creationId xmlns:a16="http://schemas.microsoft.com/office/drawing/2014/main" id="{EC0027B3-FDFF-4B28-8A0D-9A4B5E8C29C0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3" name="Cím 1">
            <a:extLst>
              <a:ext uri="{FF2B5EF4-FFF2-40B4-BE49-F238E27FC236}">
                <a16:creationId xmlns:a16="http://schemas.microsoft.com/office/drawing/2014/main" id="{A110E9F1-1CDF-4838-AED7-60A1A3D9EB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Steps</a:t>
            </a:r>
            <a:endParaRPr lang="hu-HU" dirty="0"/>
          </a:p>
        </p:txBody>
      </p:sp>
      <p:sp>
        <p:nvSpPr>
          <p:cNvPr id="22" name="Szöveg helye 20">
            <a:extLst>
              <a:ext uri="{FF2B5EF4-FFF2-40B4-BE49-F238E27FC236}">
                <a16:creationId xmlns:a16="http://schemas.microsoft.com/office/drawing/2014/main" id="{08E1D05F-121B-47E0-B15F-83926DBFB9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72436" y="3293255"/>
            <a:ext cx="1206614" cy="659561"/>
          </a:xfrm>
          <a:solidFill>
            <a:srgbClr val="B00402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4" name="Szöveg helye 20">
            <a:extLst>
              <a:ext uri="{FF2B5EF4-FFF2-40B4-BE49-F238E27FC236}">
                <a16:creationId xmlns:a16="http://schemas.microsoft.com/office/drawing/2014/main" id="{653DD6FA-120C-4353-BB35-E84569EC54B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05638" y="2894801"/>
            <a:ext cx="1206614" cy="659561"/>
          </a:xfrm>
          <a:solidFill>
            <a:srgbClr val="5CC1CB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8" name="Szöveg helye 20">
            <a:extLst>
              <a:ext uri="{FF2B5EF4-FFF2-40B4-BE49-F238E27FC236}">
                <a16:creationId xmlns:a16="http://schemas.microsoft.com/office/drawing/2014/main" id="{23C000C5-5801-47ED-9E56-9B2FD158EA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8840" y="2522423"/>
            <a:ext cx="1206614" cy="659561"/>
          </a:xfrm>
          <a:solidFill>
            <a:srgbClr val="B00402">
              <a:alpha val="75000"/>
            </a:srgbClr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1" name="Szöveg helye 20">
            <a:extLst>
              <a:ext uri="{FF2B5EF4-FFF2-40B4-BE49-F238E27FC236}">
                <a16:creationId xmlns:a16="http://schemas.microsoft.com/office/drawing/2014/main" id="{C664386A-3AB5-4D43-ABB7-E686C3AB701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52517" y="2119865"/>
            <a:ext cx="1206614" cy="659561"/>
          </a:xfrm>
          <a:solidFill>
            <a:schemeClr val="tx1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2" name="Szöveg helye 20">
            <a:extLst>
              <a:ext uri="{FF2B5EF4-FFF2-40B4-BE49-F238E27FC236}">
                <a16:creationId xmlns:a16="http://schemas.microsoft.com/office/drawing/2014/main" id="{78FA1BBB-CB0B-4600-A60C-93AB475DD5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18878" y="1716215"/>
            <a:ext cx="1206614" cy="659561"/>
          </a:xfrm>
          <a:solidFill>
            <a:srgbClr val="E3E000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3" name="Szöveg helye 11">
            <a:extLst>
              <a:ext uri="{FF2B5EF4-FFF2-40B4-BE49-F238E27FC236}">
                <a16:creationId xmlns:a16="http://schemas.microsoft.com/office/drawing/2014/main" id="{CAF9B4CD-B6C5-48A1-84EB-CF644EF505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18878" y="2417292"/>
            <a:ext cx="717550" cy="246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…</a:t>
            </a:r>
          </a:p>
        </p:txBody>
      </p:sp>
      <p:pic>
        <p:nvPicPr>
          <p:cNvPr id="35" name="Bild 2">
            <a:extLst>
              <a:ext uri="{FF2B5EF4-FFF2-40B4-BE49-F238E27FC236}">
                <a16:creationId xmlns:a16="http://schemas.microsoft.com/office/drawing/2014/main" id="{E6DA7FBA-D597-4CAD-8365-EDC434037F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8550" y="2964982"/>
            <a:ext cx="584200" cy="279400"/>
          </a:xfrm>
          <a:prstGeom prst="rect">
            <a:avLst/>
          </a:prstGeom>
        </p:spPr>
      </p:pic>
      <p:pic>
        <p:nvPicPr>
          <p:cNvPr id="36" name="Bild 4">
            <a:extLst>
              <a:ext uri="{FF2B5EF4-FFF2-40B4-BE49-F238E27FC236}">
                <a16:creationId xmlns:a16="http://schemas.microsoft.com/office/drawing/2014/main" id="{6237F5BD-3FF0-46C9-BFC0-375AB0FE9B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42063" y="2253782"/>
            <a:ext cx="2044700" cy="711200"/>
          </a:xfrm>
          <a:prstGeom prst="rect">
            <a:avLst/>
          </a:prstGeom>
        </p:spPr>
      </p:pic>
      <p:pic>
        <p:nvPicPr>
          <p:cNvPr id="38" name="Bild 3">
            <a:extLst>
              <a:ext uri="{FF2B5EF4-FFF2-40B4-BE49-F238E27FC236}">
                <a16:creationId xmlns:a16="http://schemas.microsoft.com/office/drawing/2014/main" id="{B7ABCDA1-B4F7-4327-AADF-227F51D733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56390" y="1916227"/>
            <a:ext cx="584200" cy="279400"/>
          </a:xfrm>
          <a:prstGeom prst="rect">
            <a:avLst/>
          </a:prstGeom>
        </p:spPr>
      </p:pic>
      <p:pic>
        <p:nvPicPr>
          <p:cNvPr id="40" name="Bild 24">
            <a:extLst>
              <a:ext uri="{FF2B5EF4-FFF2-40B4-BE49-F238E27FC236}">
                <a16:creationId xmlns:a16="http://schemas.microsoft.com/office/drawing/2014/main" id="{02D1DCB3-0A70-4E58-BE41-A437016778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54805" y="1436815"/>
            <a:ext cx="584200" cy="279400"/>
          </a:xfrm>
          <a:prstGeom prst="rect">
            <a:avLst/>
          </a:prstGeom>
        </p:spPr>
      </p:pic>
      <p:sp>
        <p:nvSpPr>
          <p:cNvPr id="29" name="Dátum helye 2">
            <a:extLst>
              <a:ext uri="{FF2B5EF4-FFF2-40B4-BE49-F238E27FC236}">
                <a16:creationId xmlns:a16="http://schemas.microsoft.com/office/drawing/2014/main" id="{4135D658-C444-42D3-AD0D-1CA6157BB6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BE9304CE-921A-4B61-B400-67DD3A63658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0" name="Dia számának helye 4">
            <a:extLst>
              <a:ext uri="{FF2B5EF4-FFF2-40B4-BE49-F238E27FC236}">
                <a16:creationId xmlns:a16="http://schemas.microsoft.com/office/drawing/2014/main" id="{7C57EC83-BDEA-42FB-A33C-5AEFFD6D8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163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mod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7EC90D32-D161-4973-B02C-DA11776402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1300163"/>
            <a:ext cx="5722938" cy="376237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Description</a:t>
            </a:r>
            <a:endParaRPr lang="hu-HU" dirty="0"/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1277E0F1-B61E-4CAB-B775-38C3F6C34C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5" y="2097723"/>
            <a:ext cx="2790000" cy="376237"/>
          </a:xfrm>
          <a:solidFill>
            <a:srgbClr val="B00402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Value</a:t>
            </a:r>
            <a:r>
              <a:rPr lang="hu-HU" dirty="0"/>
              <a:t> add </a:t>
            </a:r>
            <a:r>
              <a:rPr lang="hu-HU" dirty="0" err="1"/>
              <a:t>for</a:t>
            </a:r>
            <a:r>
              <a:rPr lang="hu-HU" dirty="0"/>
              <a:t> E.ON</a:t>
            </a:r>
          </a:p>
        </p:txBody>
      </p:sp>
      <p:sp>
        <p:nvSpPr>
          <p:cNvPr id="10" name="Szöveg helye 3">
            <a:extLst>
              <a:ext uri="{FF2B5EF4-FFF2-40B4-BE49-F238E27FC236}">
                <a16:creationId xmlns:a16="http://schemas.microsoft.com/office/drawing/2014/main" id="{30550990-1C80-4E5E-9050-F23D3CCD0C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0763" y="2097722"/>
            <a:ext cx="2790000" cy="376237"/>
          </a:xfrm>
          <a:solidFill>
            <a:srgbClr val="B00402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Requirements</a:t>
            </a:r>
            <a:r>
              <a:rPr lang="hu-HU" dirty="0"/>
              <a:t> </a:t>
            </a:r>
            <a:r>
              <a:rPr lang="hu-HU" dirty="0" err="1"/>
              <a:t>for</a:t>
            </a:r>
            <a:endParaRPr lang="hu-HU" dirty="0"/>
          </a:p>
        </p:txBody>
      </p:sp>
      <p:sp>
        <p:nvSpPr>
          <p:cNvPr id="11" name="Szöveg helye 3">
            <a:extLst>
              <a:ext uri="{FF2B5EF4-FFF2-40B4-BE49-F238E27FC236}">
                <a16:creationId xmlns:a16="http://schemas.microsoft.com/office/drawing/2014/main" id="{DEFC3C66-17F7-4F70-A9B3-F78C00065D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000" y="3382963"/>
            <a:ext cx="2790000" cy="376237"/>
          </a:xfrm>
          <a:solidFill>
            <a:srgbClr val="B00402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arket </a:t>
            </a:r>
            <a:r>
              <a:rPr lang="hu-HU" dirty="0" err="1"/>
              <a:t>opportunities</a:t>
            </a:r>
            <a:endParaRPr lang="hu-HU" dirty="0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08CC96-0810-4BDD-A902-2507DA4A5B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10763" y="3382963"/>
            <a:ext cx="2790000" cy="376237"/>
          </a:xfrm>
          <a:solidFill>
            <a:srgbClr val="B00402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otential</a:t>
            </a:r>
            <a:r>
              <a:rPr lang="hu-HU" dirty="0"/>
              <a:t> </a:t>
            </a:r>
            <a:r>
              <a:rPr lang="hu-HU" dirty="0" err="1"/>
              <a:t>threats</a:t>
            </a:r>
            <a:endParaRPr lang="hu-HU" dirty="0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BFA8FE6B-E323-4D63-BB21-ABC4AA3928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2570163"/>
            <a:ext cx="2754313" cy="660400"/>
          </a:xfrm>
        </p:spPr>
        <p:txBody>
          <a:bodyPr/>
          <a:lstStyle>
            <a:lvl1pPr marL="177800" indent="-177800"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Please</a:t>
            </a:r>
            <a:r>
              <a:rPr lang="hu-HU" dirty="0"/>
              <a:t> </a:t>
            </a:r>
            <a:r>
              <a:rPr lang="hu-HU" dirty="0" err="1"/>
              <a:t>describe</a:t>
            </a:r>
            <a:r>
              <a:rPr lang="hu-HU" dirty="0"/>
              <a:t> here </a:t>
            </a:r>
            <a:r>
              <a:rPr lang="hu-HU" dirty="0" err="1"/>
              <a:t>value</a:t>
            </a:r>
            <a:r>
              <a:rPr lang="hu-HU" dirty="0"/>
              <a:t> </a:t>
            </a:r>
            <a:r>
              <a:rPr lang="hu-HU" dirty="0" err="1"/>
              <a:t>added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E.ON de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implementation</a:t>
            </a:r>
            <a:r>
              <a:rPr lang="hu-HU" dirty="0"/>
              <a:t> of </a:t>
            </a:r>
            <a:r>
              <a:rPr lang="hu-HU" dirty="0" err="1"/>
              <a:t>this</a:t>
            </a:r>
            <a:r>
              <a:rPr lang="hu-HU" dirty="0"/>
              <a:t> business </a:t>
            </a:r>
            <a:r>
              <a:rPr lang="hu-HU" dirty="0" err="1"/>
              <a:t>model</a:t>
            </a:r>
            <a:endParaRPr lang="hu-HU" dirty="0"/>
          </a:p>
        </p:txBody>
      </p:sp>
      <p:sp>
        <p:nvSpPr>
          <p:cNvPr id="13" name="Szöveg helye 5">
            <a:extLst>
              <a:ext uri="{FF2B5EF4-FFF2-40B4-BE49-F238E27FC236}">
                <a16:creationId xmlns:a16="http://schemas.microsoft.com/office/drawing/2014/main" id="{4D1F23FA-6129-4B69-9D42-5669306534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0763" y="2570163"/>
            <a:ext cx="2754313" cy="660400"/>
          </a:xfrm>
        </p:spPr>
        <p:txBody>
          <a:bodyPr/>
          <a:lstStyle>
            <a:lvl1pPr marL="177800" indent="-177800"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Please</a:t>
            </a:r>
            <a:r>
              <a:rPr lang="hu-HU" dirty="0"/>
              <a:t> </a:t>
            </a:r>
            <a:r>
              <a:rPr lang="hu-HU" dirty="0" err="1"/>
              <a:t>describe</a:t>
            </a:r>
            <a:r>
              <a:rPr lang="hu-HU" dirty="0"/>
              <a:t> here </a:t>
            </a:r>
            <a:r>
              <a:rPr lang="hu-HU" dirty="0" err="1"/>
              <a:t>value</a:t>
            </a:r>
            <a:r>
              <a:rPr lang="hu-HU" dirty="0"/>
              <a:t> </a:t>
            </a:r>
            <a:r>
              <a:rPr lang="hu-HU" dirty="0" err="1"/>
              <a:t>added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E.ON de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implementation</a:t>
            </a:r>
            <a:r>
              <a:rPr lang="hu-HU" dirty="0"/>
              <a:t> of </a:t>
            </a:r>
            <a:r>
              <a:rPr lang="hu-HU" dirty="0" err="1"/>
              <a:t>this</a:t>
            </a:r>
            <a:r>
              <a:rPr lang="hu-HU" dirty="0"/>
              <a:t> business </a:t>
            </a:r>
            <a:r>
              <a:rPr lang="hu-HU" dirty="0" err="1"/>
              <a:t>model</a:t>
            </a:r>
            <a:endParaRPr lang="hu-HU" dirty="0"/>
          </a:p>
        </p:txBody>
      </p:sp>
      <p:sp>
        <p:nvSpPr>
          <p:cNvPr id="14" name="Szöveg helye 5">
            <a:extLst>
              <a:ext uri="{FF2B5EF4-FFF2-40B4-BE49-F238E27FC236}">
                <a16:creationId xmlns:a16="http://schemas.microsoft.com/office/drawing/2014/main" id="{1F8DA61D-401C-4940-8D69-07C194592C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687" y="3850323"/>
            <a:ext cx="2754313" cy="660400"/>
          </a:xfrm>
        </p:spPr>
        <p:txBody>
          <a:bodyPr/>
          <a:lstStyle>
            <a:lvl1pPr marL="177800" indent="-177800"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Please</a:t>
            </a:r>
            <a:r>
              <a:rPr lang="hu-HU" dirty="0"/>
              <a:t> </a:t>
            </a:r>
            <a:r>
              <a:rPr lang="hu-HU" dirty="0" err="1"/>
              <a:t>describe</a:t>
            </a:r>
            <a:r>
              <a:rPr lang="hu-HU" dirty="0"/>
              <a:t> here </a:t>
            </a:r>
            <a:r>
              <a:rPr lang="hu-HU" dirty="0" err="1"/>
              <a:t>value</a:t>
            </a:r>
            <a:r>
              <a:rPr lang="hu-HU" dirty="0"/>
              <a:t> </a:t>
            </a:r>
            <a:r>
              <a:rPr lang="hu-HU" dirty="0" err="1"/>
              <a:t>added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E.ON de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implementation</a:t>
            </a:r>
            <a:r>
              <a:rPr lang="hu-HU" dirty="0"/>
              <a:t> of </a:t>
            </a:r>
            <a:r>
              <a:rPr lang="hu-HU" dirty="0" err="1"/>
              <a:t>this</a:t>
            </a:r>
            <a:r>
              <a:rPr lang="hu-HU" dirty="0"/>
              <a:t> business </a:t>
            </a:r>
            <a:r>
              <a:rPr lang="hu-HU" dirty="0" err="1"/>
              <a:t>model</a:t>
            </a:r>
            <a:endParaRPr lang="hu-HU" dirty="0"/>
          </a:p>
        </p:txBody>
      </p:sp>
      <p:sp>
        <p:nvSpPr>
          <p:cNvPr id="15" name="Szöveg helye 5">
            <a:extLst>
              <a:ext uri="{FF2B5EF4-FFF2-40B4-BE49-F238E27FC236}">
                <a16:creationId xmlns:a16="http://schemas.microsoft.com/office/drawing/2014/main" id="{FA8AB395-64A4-4E20-B3A4-04F18D5A0A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10763" y="3850323"/>
            <a:ext cx="2754313" cy="660400"/>
          </a:xfrm>
        </p:spPr>
        <p:txBody>
          <a:bodyPr/>
          <a:lstStyle>
            <a:lvl1pPr marL="177800" indent="-177800"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Please</a:t>
            </a:r>
            <a:r>
              <a:rPr lang="hu-HU" dirty="0"/>
              <a:t> </a:t>
            </a:r>
            <a:r>
              <a:rPr lang="hu-HU" dirty="0" err="1"/>
              <a:t>describe</a:t>
            </a:r>
            <a:r>
              <a:rPr lang="hu-HU" dirty="0"/>
              <a:t> here </a:t>
            </a:r>
            <a:r>
              <a:rPr lang="hu-HU" dirty="0" err="1"/>
              <a:t>value</a:t>
            </a:r>
            <a:r>
              <a:rPr lang="hu-HU" dirty="0"/>
              <a:t> </a:t>
            </a:r>
            <a:r>
              <a:rPr lang="hu-HU" dirty="0" err="1"/>
              <a:t>added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E.ON de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implementation</a:t>
            </a:r>
            <a:r>
              <a:rPr lang="hu-HU" dirty="0"/>
              <a:t> of </a:t>
            </a:r>
            <a:r>
              <a:rPr lang="hu-HU" dirty="0" err="1"/>
              <a:t>this</a:t>
            </a:r>
            <a:r>
              <a:rPr lang="hu-HU" dirty="0"/>
              <a:t> business </a:t>
            </a:r>
            <a:r>
              <a:rPr lang="hu-HU" dirty="0" err="1"/>
              <a:t>model</a:t>
            </a:r>
            <a:endParaRPr lang="hu-HU" dirty="0"/>
          </a:p>
        </p:txBody>
      </p:sp>
      <p:sp>
        <p:nvSpPr>
          <p:cNvPr id="16" name="Szöveg helye 5">
            <a:extLst>
              <a:ext uri="{FF2B5EF4-FFF2-40B4-BE49-F238E27FC236}">
                <a16:creationId xmlns:a16="http://schemas.microsoft.com/office/drawing/2014/main" id="{A7BE0693-5F27-4330-8EC8-6B71714792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686" y="1722839"/>
            <a:ext cx="2754313" cy="294640"/>
          </a:xfrm>
        </p:spPr>
        <p:txBody>
          <a:bodyPr/>
          <a:lstStyle>
            <a:lvl1pPr marL="177800" indent="-177800"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Please</a:t>
            </a:r>
            <a:r>
              <a:rPr lang="hu-HU" dirty="0"/>
              <a:t> </a:t>
            </a:r>
            <a:r>
              <a:rPr lang="hu-HU" dirty="0" err="1"/>
              <a:t>describe</a:t>
            </a:r>
            <a:r>
              <a:rPr lang="hu-HU" dirty="0"/>
              <a:t> here main 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93CEF1C7-561D-44CA-B923-FFA8C64C87A9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Business </a:t>
            </a:r>
            <a:r>
              <a:rPr lang="hu-HU" dirty="0" err="1"/>
              <a:t>models</a:t>
            </a:r>
            <a:endParaRPr lang="en-GB" dirty="0"/>
          </a:p>
        </p:txBody>
      </p:sp>
      <p:sp>
        <p:nvSpPr>
          <p:cNvPr id="23" name="Fußzeilenplatzhalter 6">
            <a:extLst>
              <a:ext uri="{FF2B5EF4-FFF2-40B4-BE49-F238E27FC236}">
                <a16:creationId xmlns:a16="http://schemas.microsoft.com/office/drawing/2014/main" id="{CBD9567F-2BAF-4343-8EDB-ADBB0F3C1EBD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49C16DF9-F48A-4FC4-8751-6D36490875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3784941-ADED-493F-B108-8F43B404C9D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8" name="Dia számának helye 4">
            <a:extLst>
              <a:ext uri="{FF2B5EF4-FFF2-40B4-BE49-F238E27FC236}">
                <a16:creationId xmlns:a16="http://schemas.microsoft.com/office/drawing/2014/main" id="{10CC53D6-D341-428A-9617-1DDE6298954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242433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ments,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áromszög 2">
            <a:extLst>
              <a:ext uri="{FF2B5EF4-FFF2-40B4-BE49-F238E27FC236}">
                <a16:creationId xmlns:a16="http://schemas.microsoft.com/office/drawing/2014/main" id="{FAA72BB6-36F8-4D74-B59E-87B437AB4D16}"/>
              </a:ext>
            </a:extLst>
          </p:cNvPr>
          <p:cNvSpPr/>
          <p:nvPr userDrawn="1"/>
        </p:nvSpPr>
        <p:spPr>
          <a:xfrm rot="10800000">
            <a:off x="3677920" y="1824440"/>
            <a:ext cx="1493520" cy="12141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17" name="Egyenes összekötő nyíllal 16">
            <a:extLst>
              <a:ext uri="{FF2B5EF4-FFF2-40B4-BE49-F238E27FC236}">
                <a16:creationId xmlns:a16="http://schemas.microsoft.com/office/drawing/2014/main" id="{EBEE0258-519F-44BD-96E9-06612A6EA794}"/>
              </a:ext>
            </a:extLst>
          </p:cNvPr>
          <p:cNvCxnSpPr/>
          <p:nvPr userDrawn="1"/>
        </p:nvCxnSpPr>
        <p:spPr>
          <a:xfrm>
            <a:off x="3677920" y="1696720"/>
            <a:ext cx="1493520" cy="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Egyenes összekötő nyíllal 22">
            <a:extLst>
              <a:ext uri="{FF2B5EF4-FFF2-40B4-BE49-F238E27FC236}">
                <a16:creationId xmlns:a16="http://schemas.microsoft.com/office/drawing/2014/main" id="{EB2D4AAE-D917-4F5A-AC50-155F61ED649B}"/>
              </a:ext>
            </a:extLst>
          </p:cNvPr>
          <p:cNvCxnSpPr/>
          <p:nvPr userDrawn="1"/>
        </p:nvCxnSpPr>
        <p:spPr>
          <a:xfrm>
            <a:off x="3556000" y="1842560"/>
            <a:ext cx="772160" cy="128016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nyíllal 24">
            <a:extLst>
              <a:ext uri="{FF2B5EF4-FFF2-40B4-BE49-F238E27FC236}">
                <a16:creationId xmlns:a16="http://schemas.microsoft.com/office/drawing/2014/main" id="{DFC10113-128F-49C7-92EB-077726229A62}"/>
              </a:ext>
            </a:extLst>
          </p:cNvPr>
          <p:cNvCxnSpPr/>
          <p:nvPr userDrawn="1"/>
        </p:nvCxnSpPr>
        <p:spPr>
          <a:xfrm flipV="1">
            <a:off x="4513400" y="1867600"/>
            <a:ext cx="774000" cy="123008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F6F26AB7-8919-44E2-AD48-C83EE2149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3360" y="1596116"/>
            <a:ext cx="1030287" cy="258762"/>
          </a:xfrm>
        </p:spPr>
        <p:txBody>
          <a:bodyPr anchor="ctr"/>
          <a:lstStyle>
            <a:lvl1pPr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Cost</a:t>
            </a:r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56094DD1-F7EB-432C-9101-FE14F2376F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9536" y="3156798"/>
            <a:ext cx="1030287" cy="258762"/>
          </a:xfrm>
        </p:spPr>
        <p:txBody>
          <a:bodyPr anchor="ctr"/>
          <a:lstStyle>
            <a:lvl1pPr algn="ctr"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ime</a:t>
            </a:r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B6773585-DF56-43E0-AC43-909919B3A7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31673" y="1590718"/>
            <a:ext cx="1030287" cy="258762"/>
          </a:xfrm>
        </p:spPr>
        <p:txBody>
          <a:bodyPr anchor="ctr"/>
          <a:lstStyle>
            <a:lvl1pPr algn="l"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Quality</a:t>
            </a:r>
            <a:endParaRPr lang="hu-HU" dirty="0"/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039B53D3-7F75-496E-A7B9-3A62D40187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73977" y="2164399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1" name="Háromszög 30">
            <a:extLst>
              <a:ext uri="{FF2B5EF4-FFF2-40B4-BE49-F238E27FC236}">
                <a16:creationId xmlns:a16="http://schemas.microsoft.com/office/drawing/2014/main" id="{441F805B-151D-4A2B-97AA-426C0AA29A85}"/>
              </a:ext>
            </a:extLst>
          </p:cNvPr>
          <p:cNvSpPr/>
          <p:nvPr userDrawn="1"/>
        </p:nvSpPr>
        <p:spPr>
          <a:xfrm>
            <a:off x="378000" y="3415560"/>
            <a:ext cx="1493520" cy="12141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Háromszög 31">
            <a:extLst>
              <a:ext uri="{FF2B5EF4-FFF2-40B4-BE49-F238E27FC236}">
                <a16:creationId xmlns:a16="http://schemas.microsoft.com/office/drawing/2014/main" id="{EBF6897C-C55D-46BA-B62C-15340F07122E}"/>
              </a:ext>
            </a:extLst>
          </p:cNvPr>
          <p:cNvSpPr/>
          <p:nvPr userDrawn="1"/>
        </p:nvSpPr>
        <p:spPr>
          <a:xfrm>
            <a:off x="1871520" y="3415560"/>
            <a:ext cx="1493520" cy="12141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3" name="Háromszög 32">
            <a:extLst>
              <a:ext uri="{FF2B5EF4-FFF2-40B4-BE49-F238E27FC236}">
                <a16:creationId xmlns:a16="http://schemas.microsoft.com/office/drawing/2014/main" id="{96854377-7C27-4574-9405-B5D174A175E8}"/>
              </a:ext>
            </a:extLst>
          </p:cNvPr>
          <p:cNvSpPr/>
          <p:nvPr userDrawn="1"/>
        </p:nvSpPr>
        <p:spPr>
          <a:xfrm rot="10800000">
            <a:off x="1124760" y="3415560"/>
            <a:ext cx="1493520" cy="12141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4" name="Háromszög 33">
            <a:extLst>
              <a:ext uri="{FF2B5EF4-FFF2-40B4-BE49-F238E27FC236}">
                <a16:creationId xmlns:a16="http://schemas.microsoft.com/office/drawing/2014/main" id="{CE44F904-E998-4A6F-BC17-AE39927C9F74}"/>
              </a:ext>
            </a:extLst>
          </p:cNvPr>
          <p:cNvSpPr/>
          <p:nvPr userDrawn="1"/>
        </p:nvSpPr>
        <p:spPr>
          <a:xfrm>
            <a:off x="1124760" y="2201440"/>
            <a:ext cx="1493520" cy="12141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5" name="Szöveg helye 26">
            <a:extLst>
              <a:ext uri="{FF2B5EF4-FFF2-40B4-BE49-F238E27FC236}">
                <a16:creationId xmlns:a16="http://schemas.microsoft.com/office/drawing/2014/main" id="{798C9B49-6573-46C4-ACD8-1D9636E28A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6949" y="3718879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1" name="Háromszög 40">
            <a:extLst>
              <a:ext uri="{FF2B5EF4-FFF2-40B4-BE49-F238E27FC236}">
                <a16:creationId xmlns:a16="http://schemas.microsoft.com/office/drawing/2014/main" id="{0B710FCE-609A-4FBE-82A2-C41EB2D98F57}"/>
              </a:ext>
            </a:extLst>
          </p:cNvPr>
          <p:cNvSpPr/>
          <p:nvPr userDrawn="1"/>
        </p:nvSpPr>
        <p:spPr>
          <a:xfrm>
            <a:off x="5267388" y="3415560"/>
            <a:ext cx="1493520" cy="12141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2" name="Háromszög 41">
            <a:extLst>
              <a:ext uri="{FF2B5EF4-FFF2-40B4-BE49-F238E27FC236}">
                <a16:creationId xmlns:a16="http://schemas.microsoft.com/office/drawing/2014/main" id="{EB1E1EDC-E6DC-4266-9A2F-D18C7C85159A}"/>
              </a:ext>
            </a:extLst>
          </p:cNvPr>
          <p:cNvSpPr/>
          <p:nvPr userDrawn="1"/>
        </p:nvSpPr>
        <p:spPr>
          <a:xfrm>
            <a:off x="6760908" y="3415560"/>
            <a:ext cx="1493520" cy="12141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3" name="Háromszög 42">
            <a:extLst>
              <a:ext uri="{FF2B5EF4-FFF2-40B4-BE49-F238E27FC236}">
                <a16:creationId xmlns:a16="http://schemas.microsoft.com/office/drawing/2014/main" id="{8747477C-DFEA-46A4-BDF4-7CFB60C3EDB6}"/>
              </a:ext>
            </a:extLst>
          </p:cNvPr>
          <p:cNvSpPr/>
          <p:nvPr userDrawn="1"/>
        </p:nvSpPr>
        <p:spPr>
          <a:xfrm rot="10800000">
            <a:off x="6014148" y="3415560"/>
            <a:ext cx="1493520" cy="12141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4" name="Háromszög 43">
            <a:extLst>
              <a:ext uri="{FF2B5EF4-FFF2-40B4-BE49-F238E27FC236}">
                <a16:creationId xmlns:a16="http://schemas.microsoft.com/office/drawing/2014/main" id="{52CCE18C-891D-4947-8691-423FEB7C1C65}"/>
              </a:ext>
            </a:extLst>
          </p:cNvPr>
          <p:cNvSpPr/>
          <p:nvPr userDrawn="1"/>
        </p:nvSpPr>
        <p:spPr>
          <a:xfrm>
            <a:off x="6014148" y="2201440"/>
            <a:ext cx="1493520" cy="12141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5" name="Szöveg helye 26">
            <a:extLst>
              <a:ext uri="{FF2B5EF4-FFF2-40B4-BE49-F238E27FC236}">
                <a16:creationId xmlns:a16="http://schemas.microsoft.com/office/drawing/2014/main" id="{8F917157-BBE4-4158-B68C-7EDCDF4EB2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46337" y="3718879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6" name="Szöveg helye 26">
            <a:extLst>
              <a:ext uri="{FF2B5EF4-FFF2-40B4-BE49-F238E27FC236}">
                <a16:creationId xmlns:a16="http://schemas.microsoft.com/office/drawing/2014/main" id="{8469D64D-C106-4D45-987B-2CCF233DC1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0457" y="2833839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7" name="Szöveg helye 26">
            <a:extLst>
              <a:ext uri="{FF2B5EF4-FFF2-40B4-BE49-F238E27FC236}">
                <a16:creationId xmlns:a16="http://schemas.microsoft.com/office/drawing/2014/main" id="{2904A65F-B833-41E2-A3D0-55FF0FE035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99004" y="4130041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8" name="Szöveg helye 26">
            <a:extLst>
              <a:ext uri="{FF2B5EF4-FFF2-40B4-BE49-F238E27FC236}">
                <a16:creationId xmlns:a16="http://schemas.microsoft.com/office/drawing/2014/main" id="{4E32B795-844F-4F61-9461-C22E799A26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5670" y="4130041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9" name="Szöveg helye 26">
            <a:extLst>
              <a:ext uri="{FF2B5EF4-FFF2-40B4-BE49-F238E27FC236}">
                <a16:creationId xmlns:a16="http://schemas.microsoft.com/office/drawing/2014/main" id="{B5F58F77-3657-4A25-8B22-198477084B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38714" y="4692122"/>
            <a:ext cx="2244386" cy="258762"/>
          </a:xfrm>
        </p:spPr>
        <p:txBody>
          <a:bodyPr anchor="ctr"/>
          <a:lstStyle>
            <a:lvl1pPr algn="ctr"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idix</a:t>
            </a:r>
            <a:endParaRPr lang="hu-HU" dirty="0"/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AC41F624-8704-41FF-967A-17EA117531CD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Elements</a:t>
            </a:r>
            <a:r>
              <a:rPr lang="hu-HU" dirty="0"/>
              <a:t>, </a:t>
            </a:r>
            <a:r>
              <a:rPr lang="hu-HU" dirty="0" err="1"/>
              <a:t>Pyramid</a:t>
            </a:r>
            <a:endParaRPr lang="en-GB" dirty="0"/>
          </a:p>
        </p:txBody>
      </p:sp>
      <p:sp>
        <p:nvSpPr>
          <p:cNvPr id="51" name="Fußzeilenplatzhalter 6">
            <a:extLst>
              <a:ext uri="{FF2B5EF4-FFF2-40B4-BE49-F238E27FC236}">
                <a16:creationId xmlns:a16="http://schemas.microsoft.com/office/drawing/2014/main" id="{F1A8989A-F173-4B6B-BE63-050F78C416DA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1837548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ments, Pyrami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1055CBA-2328-4229-BE2F-1E44C04513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Elements</a:t>
            </a:r>
            <a:r>
              <a:rPr lang="hu-HU" dirty="0"/>
              <a:t>, </a:t>
            </a:r>
            <a:r>
              <a:rPr lang="hu-HU" dirty="0" err="1"/>
              <a:t>Pyramid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0026A686-5066-4D85-A147-50BB451D8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35ACE-CD29-47FE-B4D2-7686DA7BE838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50F7CEA-6A5A-45E4-85F0-23B6811D6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6928115D-51FD-4657-917F-B217CB44B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EE058409-0CF4-4D84-9D0D-A13E452B6F5A}"/>
              </a:ext>
            </a:extLst>
          </p:cNvPr>
          <p:cNvSpPr/>
          <p:nvPr userDrawn="1"/>
        </p:nvSpPr>
        <p:spPr>
          <a:xfrm>
            <a:off x="3081236" y="2833839"/>
            <a:ext cx="1493520" cy="12141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Háromszög 6">
            <a:extLst>
              <a:ext uri="{FF2B5EF4-FFF2-40B4-BE49-F238E27FC236}">
                <a16:creationId xmlns:a16="http://schemas.microsoft.com/office/drawing/2014/main" id="{80B4001F-1BE5-488A-B35C-1ED707852A17}"/>
              </a:ext>
            </a:extLst>
          </p:cNvPr>
          <p:cNvSpPr/>
          <p:nvPr userDrawn="1"/>
        </p:nvSpPr>
        <p:spPr>
          <a:xfrm>
            <a:off x="4574756" y="2833839"/>
            <a:ext cx="1493520" cy="12141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Háromszög 7">
            <a:extLst>
              <a:ext uri="{FF2B5EF4-FFF2-40B4-BE49-F238E27FC236}">
                <a16:creationId xmlns:a16="http://schemas.microsoft.com/office/drawing/2014/main" id="{47368D92-05FE-4501-BE65-69D84C1A30D4}"/>
              </a:ext>
            </a:extLst>
          </p:cNvPr>
          <p:cNvSpPr/>
          <p:nvPr userDrawn="1"/>
        </p:nvSpPr>
        <p:spPr>
          <a:xfrm rot="10800000">
            <a:off x="3827996" y="2833839"/>
            <a:ext cx="1493520" cy="12141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Háromszög 8">
            <a:extLst>
              <a:ext uri="{FF2B5EF4-FFF2-40B4-BE49-F238E27FC236}">
                <a16:creationId xmlns:a16="http://schemas.microsoft.com/office/drawing/2014/main" id="{9F6CA90B-E767-48A1-8142-508EB4708F8E}"/>
              </a:ext>
            </a:extLst>
          </p:cNvPr>
          <p:cNvSpPr/>
          <p:nvPr userDrawn="1"/>
        </p:nvSpPr>
        <p:spPr>
          <a:xfrm>
            <a:off x="3827996" y="1619719"/>
            <a:ext cx="1493520" cy="12141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8BB912F8-4751-4E8B-88B2-2451C324B6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0185" y="3137158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1" name="Szöveg helye 26">
            <a:extLst>
              <a:ext uri="{FF2B5EF4-FFF2-40B4-BE49-F238E27FC236}">
                <a16:creationId xmlns:a16="http://schemas.microsoft.com/office/drawing/2014/main" id="{76F511AC-C71C-4AE9-A19D-EF9493CA40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04305" y="2252118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2" name="Szöveg helye 26">
            <a:extLst>
              <a:ext uri="{FF2B5EF4-FFF2-40B4-BE49-F238E27FC236}">
                <a16:creationId xmlns:a16="http://schemas.microsoft.com/office/drawing/2014/main" id="{53718815-FC70-447F-A4BA-3D98ED6612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2852" y="3548320"/>
            <a:ext cx="1030287" cy="258762"/>
          </a:xfrm>
        </p:spPr>
        <p:txBody>
          <a:bodyPr anchor="ctr"/>
          <a:lstStyle>
            <a:lvl1pPr algn="ctr">
              <a:defRPr>
                <a:solidFill>
                  <a:srgbClr val="C00000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3" name="Szöveg helye 26">
            <a:extLst>
              <a:ext uri="{FF2B5EF4-FFF2-40B4-BE49-F238E27FC236}">
                <a16:creationId xmlns:a16="http://schemas.microsoft.com/office/drawing/2014/main" id="{39D4599F-706B-4E2A-BF24-EC3DCC3B93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9518" y="3548320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249437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, list, 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F0C7339-F24F-4028-94C8-F06565A63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Objective</a:t>
            </a:r>
            <a:r>
              <a:rPr lang="hu-HU" dirty="0"/>
              <a:t>, </a:t>
            </a:r>
            <a:r>
              <a:rPr lang="hu-HU" dirty="0" err="1"/>
              <a:t>list</a:t>
            </a:r>
            <a:r>
              <a:rPr lang="hu-HU" dirty="0"/>
              <a:t>, </a:t>
            </a:r>
            <a:r>
              <a:rPr lang="hu-HU" dirty="0" err="1"/>
              <a:t>next</a:t>
            </a:r>
            <a:r>
              <a:rPr lang="hu-HU" dirty="0"/>
              <a:t> </a:t>
            </a:r>
            <a:r>
              <a:rPr lang="hu-HU" dirty="0" err="1"/>
              <a:t>step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B350B22F-42A0-4102-BBC5-B009B03A0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1E876-5AF9-4FA7-AA58-1030891EECD2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7107BDE4-A65A-42E0-BE7C-37CD7A723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C1203EC-0D93-4A28-8009-5DC47C8B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Nyíl: ötszög 5">
            <a:extLst>
              <a:ext uri="{FF2B5EF4-FFF2-40B4-BE49-F238E27FC236}">
                <a16:creationId xmlns:a16="http://schemas.microsoft.com/office/drawing/2014/main" id="{03619CC9-B533-4902-A2C9-5FA8714DDADD}"/>
              </a:ext>
            </a:extLst>
          </p:cNvPr>
          <p:cNvSpPr/>
          <p:nvPr userDrawn="1"/>
        </p:nvSpPr>
        <p:spPr>
          <a:xfrm>
            <a:off x="4" y="1098000"/>
            <a:ext cx="6064469" cy="670401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7" name="Szöveg helye 13">
            <a:extLst>
              <a:ext uri="{FF2B5EF4-FFF2-40B4-BE49-F238E27FC236}">
                <a16:creationId xmlns:a16="http://schemas.microsoft.com/office/drawing/2014/main" id="{D5AA5CBE-37A0-42CE-B0FC-2CBAF59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" y="1081567"/>
            <a:ext cx="5387741" cy="670401"/>
          </a:xfrm>
        </p:spPr>
        <p:txBody>
          <a:bodyPr lIns="36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7" name="Nyíl: ötszög 16">
            <a:extLst>
              <a:ext uri="{FF2B5EF4-FFF2-40B4-BE49-F238E27FC236}">
                <a16:creationId xmlns:a16="http://schemas.microsoft.com/office/drawing/2014/main" id="{3978A57A-F585-45D3-9FB2-0C0E77E193D3}"/>
              </a:ext>
            </a:extLst>
          </p:cNvPr>
          <p:cNvSpPr/>
          <p:nvPr userDrawn="1"/>
        </p:nvSpPr>
        <p:spPr>
          <a:xfrm>
            <a:off x="4" y="1865255"/>
            <a:ext cx="6064469" cy="670401"/>
          </a:xfrm>
          <a:prstGeom prst="homePlate">
            <a:avLst>
              <a:gd name="adj" fmla="val 30374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95D4A080-CC31-4DBB-9F83-F965572ACF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" y="1848822"/>
            <a:ext cx="5387741" cy="670401"/>
          </a:xfrm>
        </p:spPr>
        <p:txBody>
          <a:bodyPr lIns="36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2A3EDDD1-36BC-475C-8DD6-F01E95E86A57}"/>
              </a:ext>
            </a:extLst>
          </p:cNvPr>
          <p:cNvSpPr/>
          <p:nvPr userDrawn="1"/>
        </p:nvSpPr>
        <p:spPr>
          <a:xfrm>
            <a:off x="6" y="2648943"/>
            <a:ext cx="6064469" cy="670401"/>
          </a:xfrm>
          <a:prstGeom prst="homePlate">
            <a:avLst>
              <a:gd name="adj" fmla="val 30374"/>
            </a:avLst>
          </a:prstGeom>
          <a:solidFill>
            <a:srgbClr val="B00402">
              <a:alpha val="7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20" name="Szöveg helye 13">
            <a:extLst>
              <a:ext uri="{FF2B5EF4-FFF2-40B4-BE49-F238E27FC236}">
                <a16:creationId xmlns:a16="http://schemas.microsoft.com/office/drawing/2014/main" id="{6829BE8D-B0A9-43DD-B931-850F87493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" y="2632510"/>
            <a:ext cx="5387741" cy="670401"/>
          </a:xfrm>
        </p:spPr>
        <p:txBody>
          <a:bodyPr lIns="36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1" name="Nyíl: ötszög 20">
            <a:extLst>
              <a:ext uri="{FF2B5EF4-FFF2-40B4-BE49-F238E27FC236}">
                <a16:creationId xmlns:a16="http://schemas.microsoft.com/office/drawing/2014/main" id="{7181A686-93BA-40AA-93E4-1D07588B4589}"/>
              </a:ext>
            </a:extLst>
          </p:cNvPr>
          <p:cNvSpPr/>
          <p:nvPr userDrawn="1"/>
        </p:nvSpPr>
        <p:spPr>
          <a:xfrm>
            <a:off x="8" y="3416198"/>
            <a:ext cx="6064469" cy="670401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22" name="Szöveg helye 13">
            <a:extLst>
              <a:ext uri="{FF2B5EF4-FFF2-40B4-BE49-F238E27FC236}">
                <a16:creationId xmlns:a16="http://schemas.microsoft.com/office/drawing/2014/main" id="{21C1C0B3-E060-4275-8247-981616F61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" y="3424568"/>
            <a:ext cx="5387741" cy="670401"/>
          </a:xfrm>
        </p:spPr>
        <p:txBody>
          <a:bodyPr lIns="36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3" name="Nyíl: ötszög 22">
            <a:extLst>
              <a:ext uri="{FF2B5EF4-FFF2-40B4-BE49-F238E27FC236}">
                <a16:creationId xmlns:a16="http://schemas.microsoft.com/office/drawing/2014/main" id="{602A7C91-CE6F-4985-BE93-13686AC6B5F7}"/>
              </a:ext>
            </a:extLst>
          </p:cNvPr>
          <p:cNvSpPr/>
          <p:nvPr userDrawn="1"/>
        </p:nvSpPr>
        <p:spPr>
          <a:xfrm>
            <a:off x="8" y="4200193"/>
            <a:ext cx="6064469" cy="670401"/>
          </a:xfrm>
          <a:prstGeom prst="homePlate">
            <a:avLst>
              <a:gd name="adj" fmla="val 30374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24" name="Szöveg helye 13">
            <a:extLst>
              <a:ext uri="{FF2B5EF4-FFF2-40B4-BE49-F238E27FC236}">
                <a16:creationId xmlns:a16="http://schemas.microsoft.com/office/drawing/2014/main" id="{D1AA3A18-E2E1-41D6-BC87-B5C1DE857C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" y="4216319"/>
            <a:ext cx="5387741" cy="670401"/>
          </a:xfrm>
        </p:spPr>
        <p:txBody>
          <a:bodyPr lIns="360000" anchor="ctr"/>
          <a:lstStyle>
            <a:lvl1pPr>
              <a:spcAft>
                <a:spcPts val="0"/>
              </a:spcAft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5" name="Szöveg helye 13">
            <a:extLst>
              <a:ext uri="{FF2B5EF4-FFF2-40B4-BE49-F238E27FC236}">
                <a16:creationId xmlns:a16="http://schemas.microsoft.com/office/drawing/2014/main" id="{CF67486E-4404-4397-9135-6C779C6CC2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47920" y="2394932"/>
            <a:ext cx="2018080" cy="1437277"/>
          </a:xfrm>
        </p:spPr>
        <p:txBody>
          <a:bodyPr lIns="360000" tIns="180000"/>
          <a:lstStyle>
            <a:lvl1pPr algn="r">
              <a:defRPr>
                <a:solidFill>
                  <a:srgbClr val="EA1C0A"/>
                </a:solidFill>
                <a:latin typeface="+mj-lt"/>
              </a:defRPr>
            </a:lvl1pPr>
            <a:lvl2pPr>
              <a:defRPr>
                <a:solidFill>
                  <a:srgbClr val="B00402"/>
                </a:solidFill>
              </a:defRPr>
            </a:lvl2pPr>
            <a:lvl3pPr>
              <a:defRPr>
                <a:solidFill>
                  <a:srgbClr val="B00402"/>
                </a:solidFill>
              </a:defRPr>
            </a:lvl3pPr>
            <a:lvl4pPr>
              <a:defRPr>
                <a:solidFill>
                  <a:srgbClr val="B00402"/>
                </a:solidFill>
              </a:defRPr>
            </a:lvl4pPr>
            <a:lvl5pPr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eaqui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631483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zöveg helye 13">
            <a:extLst>
              <a:ext uri="{FF2B5EF4-FFF2-40B4-BE49-F238E27FC236}">
                <a16:creationId xmlns:a16="http://schemas.microsoft.com/office/drawing/2014/main" id="{A4308A36-1B99-4185-A065-333765EE0B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99" y="3260725"/>
            <a:ext cx="6073775" cy="1570038"/>
          </a:xfrm>
          <a:solidFill>
            <a:srgbClr val="B00402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94FD5881-81B1-4667-A638-167FEAC640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887" y="1294765"/>
            <a:ext cx="3036887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294765"/>
            <a:ext cx="3036887" cy="1570038"/>
          </a:xfrm>
          <a:solidFill>
            <a:srgbClr val="E3E000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8DF3C98F-4DA9-4A7D-88F3-98F79F2B7B2B}"/>
              </a:ext>
            </a:extLst>
          </p:cNvPr>
          <p:cNvSpPr/>
          <p:nvPr userDrawn="1"/>
        </p:nvSpPr>
        <p:spPr>
          <a:xfrm>
            <a:off x="1769444" y="2742883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Háromszög 9">
            <a:extLst>
              <a:ext uri="{FF2B5EF4-FFF2-40B4-BE49-F238E27FC236}">
                <a16:creationId xmlns:a16="http://schemas.microsoft.com/office/drawing/2014/main" id="{A832EDC9-B3AE-48DB-AFD4-585984FCA2C2}"/>
              </a:ext>
            </a:extLst>
          </p:cNvPr>
          <p:cNvSpPr/>
          <p:nvPr userDrawn="1"/>
        </p:nvSpPr>
        <p:spPr>
          <a:xfrm>
            <a:off x="4806331" y="2742883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1E60F7AF-FF36-4374-B281-A851658B172A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3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319B4224-B285-4F41-839A-B2388AD43D4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3E17E522-802B-4683-98C7-43C85B6D59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9" y="2945293"/>
            <a:ext cx="6056312" cy="239713"/>
          </a:xfrm>
        </p:spPr>
        <p:txBody>
          <a:bodyPr/>
          <a:lstStyle>
            <a:lvl1pPr algn="ctr"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endParaRPr lang="hu-HU" dirty="0"/>
          </a:p>
        </p:txBody>
      </p:sp>
      <p:sp>
        <p:nvSpPr>
          <p:cNvPr id="13" name="Dátum helye 2">
            <a:extLst>
              <a:ext uri="{FF2B5EF4-FFF2-40B4-BE49-F238E27FC236}">
                <a16:creationId xmlns:a16="http://schemas.microsoft.com/office/drawing/2014/main" id="{DC2C1623-E75C-4D92-B8C5-E922D967EA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386604DE-B167-40C6-9634-F4DF6BE6D14E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6" name="Dia számának helye 4">
            <a:extLst>
              <a:ext uri="{FF2B5EF4-FFF2-40B4-BE49-F238E27FC236}">
                <a16:creationId xmlns:a16="http://schemas.microsoft.com/office/drawing/2014/main" id="{B9DD2D99-DA36-4FEC-BDFE-8A9298C309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7016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122045"/>
            <a:ext cx="3036887" cy="1570038"/>
          </a:xfrm>
          <a:solidFill>
            <a:srgbClr val="E3E000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94FD5881-81B1-4667-A638-167FEAC640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887" y="1122045"/>
            <a:ext cx="3036887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8DF3C98F-4DA9-4A7D-88F3-98F79F2B7B2B}"/>
              </a:ext>
            </a:extLst>
          </p:cNvPr>
          <p:cNvSpPr/>
          <p:nvPr userDrawn="1"/>
        </p:nvSpPr>
        <p:spPr>
          <a:xfrm rot="10800000">
            <a:off x="1769444" y="2696528"/>
            <a:ext cx="254000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59262A-C60B-48FB-8B70-EF3FC5F6DE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7998" y="3419792"/>
            <a:ext cx="3036887" cy="1570038"/>
          </a:xfrm>
          <a:solidFill>
            <a:srgbClr val="B00402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3" name="Szöveg helye 3">
            <a:extLst>
              <a:ext uri="{FF2B5EF4-FFF2-40B4-BE49-F238E27FC236}">
                <a16:creationId xmlns:a16="http://schemas.microsoft.com/office/drawing/2014/main" id="{D10983C0-27CC-445D-A6CB-418DA7DEA4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14887" y="3419792"/>
            <a:ext cx="3036887" cy="1570038"/>
          </a:xfrm>
          <a:solidFill>
            <a:srgbClr val="EA1C0A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6" name="Háromszög 15">
            <a:extLst>
              <a:ext uri="{FF2B5EF4-FFF2-40B4-BE49-F238E27FC236}">
                <a16:creationId xmlns:a16="http://schemas.microsoft.com/office/drawing/2014/main" id="{617FCEE8-8077-4CA3-BE00-5F12BEAF5BF6}"/>
              </a:ext>
            </a:extLst>
          </p:cNvPr>
          <p:cNvSpPr/>
          <p:nvPr userDrawn="1"/>
        </p:nvSpPr>
        <p:spPr>
          <a:xfrm>
            <a:off x="1774327" y="3300888"/>
            <a:ext cx="254000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806330" y="2689067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86BD1AD2-2E75-4EE9-B5D9-2594840272F3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4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87AFDFAF-9CA6-4829-884B-59EF769D53F0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0" name="Szöveg helye 2">
            <a:extLst>
              <a:ext uri="{FF2B5EF4-FFF2-40B4-BE49-F238E27FC236}">
                <a16:creationId xmlns:a16="http://schemas.microsoft.com/office/drawing/2014/main" id="{F477D6D7-7F0C-4CB0-B228-ADEDB6AC76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8" y="2815054"/>
            <a:ext cx="6056312" cy="481961"/>
          </a:xfrm>
        </p:spPr>
        <p:txBody>
          <a:bodyPr tIns="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  <a:p>
            <a:pPr lvl="1"/>
            <a:endParaRPr lang="hu-HU" dirty="0"/>
          </a:p>
        </p:txBody>
      </p:sp>
      <p:sp>
        <p:nvSpPr>
          <p:cNvPr id="18" name="Háromszög 17">
            <a:extLst>
              <a:ext uri="{FF2B5EF4-FFF2-40B4-BE49-F238E27FC236}">
                <a16:creationId xmlns:a16="http://schemas.microsoft.com/office/drawing/2014/main" id="{5759663A-122A-46D0-BD7E-0146E7897576}"/>
              </a:ext>
            </a:extLst>
          </p:cNvPr>
          <p:cNvSpPr/>
          <p:nvPr userDrawn="1"/>
        </p:nvSpPr>
        <p:spPr>
          <a:xfrm>
            <a:off x="4806330" y="3300888"/>
            <a:ext cx="254000" cy="1219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E67CC8EA-E89A-4290-8E16-643223FBEF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956640F-E95D-4514-A5A2-8884E2B689FF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1" name="Dia számának helye 4">
            <a:extLst>
              <a:ext uri="{FF2B5EF4-FFF2-40B4-BE49-F238E27FC236}">
                <a16:creationId xmlns:a16="http://schemas.microsoft.com/office/drawing/2014/main" id="{F2D37A99-2010-43D5-91E5-95C830E68BF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809047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997" y="1303858"/>
            <a:ext cx="3036887" cy="1570038"/>
          </a:xfrm>
          <a:solidFill>
            <a:srgbClr val="E3E000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94FD5881-81B1-4667-A638-167FEAC640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887" y="1303858"/>
            <a:ext cx="3036887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8DF3C98F-4DA9-4A7D-88F3-98F79F2B7B2B}"/>
              </a:ext>
            </a:extLst>
          </p:cNvPr>
          <p:cNvSpPr/>
          <p:nvPr userDrawn="1"/>
        </p:nvSpPr>
        <p:spPr>
          <a:xfrm rot="5400000">
            <a:off x="3333225" y="1912654"/>
            <a:ext cx="254000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59262A-C60B-48FB-8B70-EF3FC5F6DE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8000" y="2873896"/>
            <a:ext cx="3036887" cy="1570038"/>
          </a:xfrm>
          <a:solidFill>
            <a:srgbClr val="B00402"/>
          </a:solidFill>
        </p:spPr>
        <p:txBody>
          <a:bodyPr lIns="72000" tIns="72000" anchor="b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3" name="Szöveg helye 3">
            <a:extLst>
              <a:ext uri="{FF2B5EF4-FFF2-40B4-BE49-F238E27FC236}">
                <a16:creationId xmlns:a16="http://schemas.microsoft.com/office/drawing/2014/main" id="{D10983C0-27CC-445D-A6CB-418DA7DEA4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14887" y="2873896"/>
            <a:ext cx="3036887" cy="1570038"/>
          </a:xfrm>
          <a:solidFill>
            <a:srgbClr val="EA1C0A"/>
          </a:solidFill>
        </p:spPr>
        <p:txBody>
          <a:bodyPr lIns="72000" tIns="72000" anchor="b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6" name="Háromszög 15">
            <a:extLst>
              <a:ext uri="{FF2B5EF4-FFF2-40B4-BE49-F238E27FC236}">
                <a16:creationId xmlns:a16="http://schemas.microsoft.com/office/drawing/2014/main" id="{617FCEE8-8077-4CA3-BE00-5F12BEAF5BF6}"/>
              </a:ext>
            </a:extLst>
          </p:cNvPr>
          <p:cNvSpPr/>
          <p:nvPr userDrawn="1"/>
        </p:nvSpPr>
        <p:spPr>
          <a:xfrm>
            <a:off x="554320" y="2766571"/>
            <a:ext cx="254000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Háromszög 17">
            <a:extLst>
              <a:ext uri="{FF2B5EF4-FFF2-40B4-BE49-F238E27FC236}">
                <a16:creationId xmlns:a16="http://schemas.microsoft.com/office/drawing/2014/main" id="{5759663A-122A-46D0-BD7E-0146E7897576}"/>
              </a:ext>
            </a:extLst>
          </p:cNvPr>
          <p:cNvSpPr/>
          <p:nvPr userDrawn="1"/>
        </p:nvSpPr>
        <p:spPr>
          <a:xfrm rot="16200000">
            <a:off x="3221845" y="3852330"/>
            <a:ext cx="254000" cy="1219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5992827" y="2873896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C8DCE73-BFE3-42C2-8C81-D91FB3ED91E3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4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1BAF92D7-AD27-4D6D-BF8E-839FBFC0D114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0" name="Szöveg helye 2">
            <a:extLst>
              <a:ext uri="{FF2B5EF4-FFF2-40B4-BE49-F238E27FC236}">
                <a16:creationId xmlns:a16="http://schemas.microsoft.com/office/drawing/2014/main" id="{E8549346-95D9-4F5A-A98D-E4B8F8A88D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497" y="2556660"/>
            <a:ext cx="3196696" cy="600841"/>
          </a:xfrm>
          <a:solidFill>
            <a:schemeClr val="bg1"/>
          </a:solidFill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7D11FD59-E6C7-42FE-8050-A507CB0C0D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31EE5B50-018D-4F0D-9E87-D203B1B13A9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1" name="Dia számának helye 4">
            <a:extLst>
              <a:ext uri="{FF2B5EF4-FFF2-40B4-BE49-F238E27FC236}">
                <a16:creationId xmlns:a16="http://schemas.microsoft.com/office/drawing/2014/main" id="{672EFF51-530D-4151-8E5A-2BAF749DF2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51054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, circular flow version 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469" y="1303858"/>
            <a:ext cx="3036887" cy="1570038"/>
          </a:xfrm>
          <a:solidFill>
            <a:srgbClr val="E3E000"/>
          </a:solidFill>
        </p:spPr>
        <p:txBody>
          <a:bodyPr lIns="72000" tIns="72000" rIns="144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0"/>
            <a:endParaRPr lang="hu-HU" dirty="0"/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94FD5881-81B1-4667-A638-167FEAC640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887" y="1303858"/>
            <a:ext cx="3036887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59262A-C60B-48FB-8B70-EF3FC5F6DE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4833" y="2873896"/>
            <a:ext cx="6073774" cy="1570038"/>
          </a:xfrm>
          <a:solidFill>
            <a:srgbClr val="B00402"/>
          </a:solidFill>
        </p:spPr>
        <p:txBody>
          <a:bodyPr lIns="72000" tIns="72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0"/>
            <a:endParaRPr lang="hu-HU" dirty="0"/>
          </a:p>
        </p:txBody>
      </p:sp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1BAF92D7-AD27-4D6D-BF8E-839FBFC0D114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0" name="Szöveg helye 9">
            <a:extLst>
              <a:ext uri="{FF2B5EF4-FFF2-40B4-BE49-F238E27FC236}">
                <a16:creationId xmlns:a16="http://schemas.microsoft.com/office/drawing/2014/main" id="{843A9CE3-30CF-4183-B62F-22399E1783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0687" y="1303967"/>
            <a:ext cx="584200" cy="579438"/>
          </a:xfrm>
        </p:spPr>
        <p:txBody>
          <a:bodyPr tIns="72000" rIns="72000" anchor="ctr"/>
          <a:lstStyle>
            <a:lvl1pPr algn="r">
              <a:defRPr sz="3200"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1</a:t>
            </a:r>
          </a:p>
        </p:txBody>
      </p:sp>
      <p:sp>
        <p:nvSpPr>
          <p:cNvPr id="50" name="Szöveg helye 9">
            <a:extLst>
              <a:ext uri="{FF2B5EF4-FFF2-40B4-BE49-F238E27FC236}">
                <a16:creationId xmlns:a16="http://schemas.microsoft.com/office/drawing/2014/main" id="{91065669-5C0C-40B6-9D9B-F019BF1BBC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67574" y="1308013"/>
            <a:ext cx="584200" cy="579438"/>
          </a:xfrm>
        </p:spPr>
        <p:txBody>
          <a:bodyPr tIns="72000" rIns="72000" anchor="ctr"/>
          <a:lstStyle>
            <a:lvl1pPr algn="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2</a:t>
            </a:r>
          </a:p>
        </p:txBody>
      </p:sp>
      <p:sp>
        <p:nvSpPr>
          <p:cNvPr id="51" name="Szöveg helye 9">
            <a:extLst>
              <a:ext uri="{FF2B5EF4-FFF2-40B4-BE49-F238E27FC236}">
                <a16:creationId xmlns:a16="http://schemas.microsoft.com/office/drawing/2014/main" id="{8575A09E-F409-46D9-B161-319D88538A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67574" y="2870112"/>
            <a:ext cx="584200" cy="579438"/>
          </a:xfrm>
        </p:spPr>
        <p:txBody>
          <a:bodyPr tIns="72000" rIns="72000" anchor="ctr"/>
          <a:lstStyle>
            <a:lvl1pPr algn="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3</a:t>
            </a:r>
          </a:p>
        </p:txBody>
      </p:sp>
      <p:sp>
        <p:nvSpPr>
          <p:cNvPr id="20" name="Szöveg helye 13">
            <a:extLst>
              <a:ext uri="{FF2B5EF4-FFF2-40B4-BE49-F238E27FC236}">
                <a16:creationId xmlns:a16="http://schemas.microsoft.com/office/drawing/2014/main" id="{7551CA0D-54EE-4601-8E11-17FD28874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3842" y="1605194"/>
            <a:ext cx="1908280" cy="1248791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1" name="Szöveg helye 13">
            <a:extLst>
              <a:ext uri="{FF2B5EF4-FFF2-40B4-BE49-F238E27FC236}">
                <a16:creationId xmlns:a16="http://schemas.microsoft.com/office/drawing/2014/main" id="{CFAC26E6-A966-4728-A9BB-CF661EEADA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14887" y="1599263"/>
            <a:ext cx="1908280" cy="1248791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2" name="Szöveg helye 13">
            <a:extLst>
              <a:ext uri="{FF2B5EF4-FFF2-40B4-BE49-F238E27FC236}">
                <a16:creationId xmlns:a16="http://schemas.microsoft.com/office/drawing/2014/main" id="{8030BB1D-0DB6-4CCF-87E9-443E2D5043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469" y="3172560"/>
            <a:ext cx="1908280" cy="1248791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7" name="Cím 1">
            <a:extLst>
              <a:ext uri="{FF2B5EF4-FFF2-40B4-BE49-F238E27FC236}">
                <a16:creationId xmlns:a16="http://schemas.microsoft.com/office/drawing/2014/main" id="{DC112804-3CF8-4A09-8C83-20CBE8BCBF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Process</a:t>
            </a:r>
            <a:r>
              <a:rPr lang="hu-HU" dirty="0"/>
              <a:t>, </a:t>
            </a:r>
            <a:r>
              <a:rPr lang="hu-HU" dirty="0" err="1"/>
              <a:t>circular</a:t>
            </a:r>
            <a:r>
              <a:rPr lang="hu-HU" dirty="0"/>
              <a:t> flow </a:t>
            </a:r>
            <a:br>
              <a:rPr lang="hu-HU" dirty="0"/>
            </a:br>
            <a:r>
              <a:rPr lang="hu-HU" dirty="0"/>
              <a:t>version 1</a:t>
            </a:r>
          </a:p>
        </p:txBody>
      </p:sp>
      <p:sp>
        <p:nvSpPr>
          <p:cNvPr id="16" name="Dátum helye 2">
            <a:extLst>
              <a:ext uri="{FF2B5EF4-FFF2-40B4-BE49-F238E27FC236}">
                <a16:creationId xmlns:a16="http://schemas.microsoft.com/office/drawing/2014/main" id="{BAEBBF48-BC98-4254-BE95-AD747CCB8D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9C0AFC2-48FF-4FE7-9F62-1803039C511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7" name="Dia számának helye 4">
            <a:extLst>
              <a:ext uri="{FF2B5EF4-FFF2-40B4-BE49-F238E27FC236}">
                <a16:creationId xmlns:a16="http://schemas.microsoft.com/office/drawing/2014/main" id="{31AE9ABA-D7FB-42BE-AAE2-EBA402A1D779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738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tream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C745DA7-8189-4D1E-BC85-8CC63685D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Workstream</a:t>
            </a:r>
            <a:r>
              <a:rPr lang="hu-HU" dirty="0"/>
              <a:t> </a:t>
            </a:r>
            <a:r>
              <a:rPr lang="hu-HU" dirty="0" err="1"/>
              <a:t>description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C2B1A77D-6B6D-4131-9E9B-5F1BD4887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92911-8A32-479D-BB37-30659DE3706E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8CA2FE9-6F21-4C68-8E66-219F7096D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CD4572E-6AAD-478A-B96A-CD1D480B9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742F06F4-6006-4CD3-B5EA-642984A61DDD}"/>
              </a:ext>
            </a:extLst>
          </p:cNvPr>
          <p:cNvSpPr/>
          <p:nvPr userDrawn="1"/>
        </p:nvSpPr>
        <p:spPr>
          <a:xfrm>
            <a:off x="378000" y="1418897"/>
            <a:ext cx="1644869" cy="7131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E9347D5A-4C87-4AE0-ABE7-2F109AA62B27}"/>
              </a:ext>
            </a:extLst>
          </p:cNvPr>
          <p:cNvSpPr/>
          <p:nvPr userDrawn="1"/>
        </p:nvSpPr>
        <p:spPr>
          <a:xfrm>
            <a:off x="4586997" y="1418897"/>
            <a:ext cx="1363495" cy="3387103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7BE862EF-D3F2-49C3-8BDC-F70D657022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999" y="1419007"/>
            <a:ext cx="1644869" cy="713062"/>
          </a:xfrm>
        </p:spPr>
        <p:txBody>
          <a:bodyPr lIns="72000" tIns="0" rIns="72000" bIns="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51A15E67-2951-4FFA-BE0D-4908489110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6995" y="1425550"/>
            <a:ext cx="1363497" cy="3380450"/>
          </a:xfrm>
        </p:spPr>
        <p:txBody>
          <a:bodyPr lIns="72000" tIns="0" rIns="72000" bIns="7200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37F8DB0D-D680-4CBD-ACF5-AFB1DC85207F}"/>
              </a:ext>
            </a:extLst>
          </p:cNvPr>
          <p:cNvSpPr/>
          <p:nvPr userDrawn="1"/>
        </p:nvSpPr>
        <p:spPr>
          <a:xfrm>
            <a:off x="378001" y="2209999"/>
            <a:ext cx="1644869" cy="7131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Szöveg helye 26">
            <a:extLst>
              <a:ext uri="{FF2B5EF4-FFF2-40B4-BE49-F238E27FC236}">
                <a16:creationId xmlns:a16="http://schemas.microsoft.com/office/drawing/2014/main" id="{9AB6871E-8DAE-4D1A-A9DF-6801385B2F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000" y="2210109"/>
            <a:ext cx="1644869" cy="713062"/>
          </a:xfrm>
        </p:spPr>
        <p:txBody>
          <a:bodyPr lIns="72000" tIns="0" rIns="72000" bIns="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4" name="Téglalap 13">
            <a:extLst>
              <a:ext uri="{FF2B5EF4-FFF2-40B4-BE49-F238E27FC236}">
                <a16:creationId xmlns:a16="http://schemas.microsoft.com/office/drawing/2014/main" id="{BB423A46-687D-4369-A9A9-62EF9F49B628}"/>
              </a:ext>
            </a:extLst>
          </p:cNvPr>
          <p:cNvSpPr/>
          <p:nvPr userDrawn="1"/>
        </p:nvSpPr>
        <p:spPr>
          <a:xfrm>
            <a:off x="378002" y="3001101"/>
            <a:ext cx="1644869" cy="7131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55D5806D-B216-498A-806A-A0D7FD2710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8001" y="3001211"/>
            <a:ext cx="1644869" cy="713062"/>
          </a:xfrm>
        </p:spPr>
        <p:txBody>
          <a:bodyPr lIns="72000" tIns="0" rIns="72000" bIns="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6" name="Téglalap 15">
            <a:extLst>
              <a:ext uri="{FF2B5EF4-FFF2-40B4-BE49-F238E27FC236}">
                <a16:creationId xmlns:a16="http://schemas.microsoft.com/office/drawing/2014/main" id="{7F73B427-45BA-4756-A6CB-B8EEA7FBE14C}"/>
              </a:ext>
            </a:extLst>
          </p:cNvPr>
          <p:cNvSpPr/>
          <p:nvPr userDrawn="1"/>
        </p:nvSpPr>
        <p:spPr>
          <a:xfrm>
            <a:off x="378003" y="3792202"/>
            <a:ext cx="1644869" cy="11061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ADC1234E-C826-4356-B5C2-A99C09903F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2" y="3792313"/>
            <a:ext cx="1644869" cy="1105930"/>
          </a:xfrm>
        </p:spPr>
        <p:txBody>
          <a:bodyPr lIns="72000" tIns="0" rIns="72000" bIns="0"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cxnSp>
        <p:nvCxnSpPr>
          <p:cNvPr id="18" name="Gerade Verbindung 23">
            <a:extLst>
              <a:ext uri="{FF2B5EF4-FFF2-40B4-BE49-F238E27FC236}">
                <a16:creationId xmlns:a16="http://schemas.microsoft.com/office/drawing/2014/main" id="{9D7ACF9C-A663-4807-9FFC-DBDD2383CC9B}"/>
              </a:ext>
            </a:extLst>
          </p:cNvPr>
          <p:cNvCxnSpPr/>
          <p:nvPr userDrawn="1"/>
        </p:nvCxnSpPr>
        <p:spPr>
          <a:xfrm>
            <a:off x="383114" y="1418897"/>
            <a:ext cx="408781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23">
            <a:extLst>
              <a:ext uri="{FF2B5EF4-FFF2-40B4-BE49-F238E27FC236}">
                <a16:creationId xmlns:a16="http://schemas.microsoft.com/office/drawing/2014/main" id="{B07EF364-0ED3-4868-9383-85715C0FBE67}"/>
              </a:ext>
            </a:extLst>
          </p:cNvPr>
          <p:cNvCxnSpPr/>
          <p:nvPr userDrawn="1"/>
        </p:nvCxnSpPr>
        <p:spPr>
          <a:xfrm>
            <a:off x="383114" y="2205330"/>
            <a:ext cx="408781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 Verbindung 23">
            <a:extLst>
              <a:ext uri="{FF2B5EF4-FFF2-40B4-BE49-F238E27FC236}">
                <a16:creationId xmlns:a16="http://schemas.microsoft.com/office/drawing/2014/main" id="{BBFCAF7A-90EF-4D6D-9F47-91B8AFBAF756}"/>
              </a:ext>
            </a:extLst>
          </p:cNvPr>
          <p:cNvCxnSpPr/>
          <p:nvPr userDrawn="1"/>
        </p:nvCxnSpPr>
        <p:spPr>
          <a:xfrm>
            <a:off x="383114" y="3001211"/>
            <a:ext cx="408781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3">
            <a:extLst>
              <a:ext uri="{FF2B5EF4-FFF2-40B4-BE49-F238E27FC236}">
                <a16:creationId xmlns:a16="http://schemas.microsoft.com/office/drawing/2014/main" id="{71DA8BCB-0E9C-495E-8E9E-66C67CAB3BE0}"/>
              </a:ext>
            </a:extLst>
          </p:cNvPr>
          <p:cNvCxnSpPr/>
          <p:nvPr userDrawn="1"/>
        </p:nvCxnSpPr>
        <p:spPr>
          <a:xfrm>
            <a:off x="378003" y="3792202"/>
            <a:ext cx="408781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23">
            <a:extLst>
              <a:ext uri="{FF2B5EF4-FFF2-40B4-BE49-F238E27FC236}">
                <a16:creationId xmlns:a16="http://schemas.microsoft.com/office/drawing/2014/main" id="{CAB4CDA8-3183-4008-A77A-80D86252940F}"/>
              </a:ext>
            </a:extLst>
          </p:cNvPr>
          <p:cNvCxnSpPr/>
          <p:nvPr userDrawn="1"/>
        </p:nvCxnSpPr>
        <p:spPr>
          <a:xfrm>
            <a:off x="4586995" y="1418897"/>
            <a:ext cx="408781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zöveg helye 9">
            <a:extLst>
              <a:ext uri="{FF2B5EF4-FFF2-40B4-BE49-F238E27FC236}">
                <a16:creationId xmlns:a16="http://schemas.microsoft.com/office/drawing/2014/main" id="{05AFFCD2-960C-4C9D-8A97-412EE4FE02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43487" y="1424613"/>
            <a:ext cx="1423988" cy="701740"/>
          </a:xfrm>
          <a:noFill/>
        </p:spPr>
        <p:txBody>
          <a:bodyPr lIns="72000" anchor="t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4" name="Szöveg helye 9">
            <a:extLst>
              <a:ext uri="{FF2B5EF4-FFF2-40B4-BE49-F238E27FC236}">
                <a16:creationId xmlns:a16="http://schemas.microsoft.com/office/drawing/2014/main" id="{1D92C8F0-2AAC-4A7E-9F06-AB27AC350F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32849" y="2221431"/>
            <a:ext cx="1423988" cy="701740"/>
          </a:xfrm>
          <a:noFill/>
        </p:spPr>
        <p:txBody>
          <a:bodyPr lIns="72000" anchor="t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5" name="Szöveg helye 9">
            <a:extLst>
              <a:ext uri="{FF2B5EF4-FFF2-40B4-BE49-F238E27FC236}">
                <a16:creationId xmlns:a16="http://schemas.microsoft.com/office/drawing/2014/main" id="{ADD79435-01CA-4507-A476-CF0B574AB31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037571" y="3012533"/>
            <a:ext cx="1423988" cy="701740"/>
          </a:xfrm>
          <a:noFill/>
        </p:spPr>
        <p:txBody>
          <a:bodyPr lIns="72000" anchor="t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6" name="Szöveg helye 9">
            <a:extLst>
              <a:ext uri="{FF2B5EF4-FFF2-40B4-BE49-F238E27FC236}">
                <a16:creationId xmlns:a16="http://schemas.microsoft.com/office/drawing/2014/main" id="{E9096E83-902F-42FE-A692-F6E0D1003F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3487" y="3866673"/>
            <a:ext cx="1423988" cy="701740"/>
          </a:xfrm>
          <a:noFill/>
        </p:spPr>
        <p:txBody>
          <a:bodyPr lIns="72000" anchor="t"/>
          <a:lstStyle>
            <a:lvl1pPr marL="285750" indent="-285750"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7" name="Szöveg helye 9">
            <a:extLst>
              <a:ext uri="{FF2B5EF4-FFF2-40B4-BE49-F238E27FC236}">
                <a16:creationId xmlns:a16="http://schemas.microsoft.com/office/drawing/2014/main" id="{C8D0FFC6-CE51-41BD-898F-6614343C04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65319" y="1430329"/>
            <a:ext cx="1423988" cy="701740"/>
          </a:xfrm>
          <a:noFill/>
        </p:spPr>
        <p:txBody>
          <a:bodyPr lIns="72000" anchor="t"/>
          <a:lstStyle>
            <a:lvl1pPr marL="285750" indent="-285750"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5837050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, circular flow version 2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zöveg helye 3">
            <a:extLst>
              <a:ext uri="{FF2B5EF4-FFF2-40B4-BE49-F238E27FC236}">
                <a16:creationId xmlns:a16="http://schemas.microsoft.com/office/drawing/2014/main" id="{54C4D134-D418-4A60-B8BD-BF382A8D56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8097" y="1212941"/>
            <a:ext cx="6073774" cy="1570038"/>
          </a:xfrm>
          <a:solidFill>
            <a:srgbClr val="B00402"/>
          </a:solidFill>
        </p:spPr>
        <p:txBody>
          <a:bodyPr lIns="72000" tIns="72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0"/>
            <a:endParaRPr lang="hu-HU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97" y="2785056"/>
            <a:ext cx="3036887" cy="1570038"/>
          </a:xfrm>
          <a:solidFill>
            <a:srgbClr val="E3E000"/>
          </a:solidFill>
        </p:spPr>
        <p:txBody>
          <a:bodyPr lIns="72000" tIns="252000" rIns="144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0"/>
            <a:endParaRPr lang="hu-HU" dirty="0"/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94FD5881-81B1-4667-A638-167FEAC640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5081" y="2782979"/>
            <a:ext cx="3036887" cy="1570038"/>
          </a:xfrm>
          <a:solidFill>
            <a:srgbClr val="5CC1CB"/>
          </a:solidFill>
        </p:spPr>
        <p:txBody>
          <a:bodyPr lIns="72000" tIns="25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Headline</a:t>
            </a:r>
          </a:p>
          <a:p>
            <a:pPr lvl="0"/>
            <a:endParaRPr lang="hu-HU" dirty="0"/>
          </a:p>
        </p:txBody>
      </p:sp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1BAF92D7-AD27-4D6D-BF8E-839FBFC0D114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0" name="Szöveg helye 9">
            <a:extLst>
              <a:ext uri="{FF2B5EF4-FFF2-40B4-BE49-F238E27FC236}">
                <a16:creationId xmlns:a16="http://schemas.microsoft.com/office/drawing/2014/main" id="{843A9CE3-30CF-4183-B62F-22399E1783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2750" y="2984405"/>
            <a:ext cx="584200" cy="579438"/>
          </a:xfrm>
        </p:spPr>
        <p:txBody>
          <a:bodyPr tIns="72000" rIns="108000" anchor="ctr"/>
          <a:lstStyle>
            <a:lvl1pPr algn="r">
              <a:defRPr sz="3200"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3</a:t>
            </a:r>
          </a:p>
        </p:txBody>
      </p:sp>
      <p:sp>
        <p:nvSpPr>
          <p:cNvPr id="50" name="Szöveg helye 9">
            <a:extLst>
              <a:ext uri="{FF2B5EF4-FFF2-40B4-BE49-F238E27FC236}">
                <a16:creationId xmlns:a16="http://schemas.microsoft.com/office/drawing/2014/main" id="{91065669-5C0C-40B6-9D9B-F019BF1BBC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67768" y="2990637"/>
            <a:ext cx="584200" cy="579438"/>
          </a:xfrm>
        </p:spPr>
        <p:txBody>
          <a:bodyPr tIns="72000" rIns="108000" anchor="ctr"/>
          <a:lstStyle>
            <a:lvl1pPr algn="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2</a:t>
            </a:r>
          </a:p>
        </p:txBody>
      </p:sp>
      <p:sp>
        <p:nvSpPr>
          <p:cNvPr id="51" name="Szöveg helye 9">
            <a:extLst>
              <a:ext uri="{FF2B5EF4-FFF2-40B4-BE49-F238E27FC236}">
                <a16:creationId xmlns:a16="http://schemas.microsoft.com/office/drawing/2014/main" id="{8575A09E-F409-46D9-B161-319D88538A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67671" y="1222525"/>
            <a:ext cx="584200" cy="579438"/>
          </a:xfrm>
        </p:spPr>
        <p:txBody>
          <a:bodyPr tIns="72000" rIns="108000" anchor="ctr"/>
          <a:lstStyle>
            <a:lvl1pPr algn="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1</a:t>
            </a:r>
          </a:p>
        </p:txBody>
      </p:sp>
      <p:sp>
        <p:nvSpPr>
          <p:cNvPr id="27" name="Háromszög 26">
            <a:extLst>
              <a:ext uri="{FF2B5EF4-FFF2-40B4-BE49-F238E27FC236}">
                <a16:creationId xmlns:a16="http://schemas.microsoft.com/office/drawing/2014/main" id="{19830B57-DE11-4A32-A322-0E6B23055DEF}"/>
              </a:ext>
            </a:extLst>
          </p:cNvPr>
          <p:cNvSpPr/>
          <p:nvPr userDrawn="1"/>
        </p:nvSpPr>
        <p:spPr>
          <a:xfrm rot="16200000">
            <a:off x="3283080" y="3538656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rgbClr val="5CC1CB"/>
              </a:solidFill>
            </a:endParaRPr>
          </a:p>
        </p:txBody>
      </p:sp>
      <p:sp>
        <p:nvSpPr>
          <p:cNvPr id="28" name="Szöveg helye 2">
            <a:extLst>
              <a:ext uri="{FF2B5EF4-FFF2-40B4-BE49-F238E27FC236}">
                <a16:creationId xmlns:a16="http://schemas.microsoft.com/office/drawing/2014/main" id="{03C46282-BC27-443C-B1AB-CFBFA3CBC5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90363" y="2486554"/>
            <a:ext cx="2304892" cy="498249"/>
          </a:xfrm>
          <a:solidFill>
            <a:schemeClr val="bg1"/>
          </a:solidFill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7" name="Szöveg helye 13">
            <a:extLst>
              <a:ext uri="{FF2B5EF4-FFF2-40B4-BE49-F238E27FC236}">
                <a16:creationId xmlns:a16="http://schemas.microsoft.com/office/drawing/2014/main" id="{BF9E5B22-A09A-4156-8999-A24E693F00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000" y="3241466"/>
            <a:ext cx="1908280" cy="1111551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846DC2E9-F53F-4076-B783-B57F98162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097" y="1605495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2" name="Szöveg helye 13">
            <a:extLst>
              <a:ext uri="{FF2B5EF4-FFF2-40B4-BE49-F238E27FC236}">
                <a16:creationId xmlns:a16="http://schemas.microsoft.com/office/drawing/2014/main" id="{8696E31E-0619-44BA-A677-1D610E5918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16381" y="3241467"/>
            <a:ext cx="1908280" cy="1113628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9" name="Cím 1">
            <a:extLst>
              <a:ext uri="{FF2B5EF4-FFF2-40B4-BE49-F238E27FC236}">
                <a16:creationId xmlns:a16="http://schemas.microsoft.com/office/drawing/2014/main" id="{E4D8F634-4B21-4270-AD01-736304382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Process</a:t>
            </a:r>
            <a:r>
              <a:rPr lang="hu-HU" dirty="0"/>
              <a:t>, </a:t>
            </a:r>
            <a:r>
              <a:rPr lang="hu-HU" dirty="0" err="1"/>
              <a:t>circular</a:t>
            </a:r>
            <a:r>
              <a:rPr lang="hu-HU" dirty="0"/>
              <a:t> flow</a:t>
            </a:r>
            <a:br>
              <a:rPr lang="hu-HU" dirty="0"/>
            </a:br>
            <a:r>
              <a:rPr lang="hu-HU" dirty="0"/>
              <a:t>version 2</a:t>
            </a:r>
          </a:p>
        </p:txBody>
      </p:sp>
      <p:sp>
        <p:nvSpPr>
          <p:cNvPr id="23" name="Háromszög 22">
            <a:extLst>
              <a:ext uri="{FF2B5EF4-FFF2-40B4-BE49-F238E27FC236}">
                <a16:creationId xmlns:a16="http://schemas.microsoft.com/office/drawing/2014/main" id="{D7DA2D2C-D402-4831-9B7D-298965EF963D}"/>
              </a:ext>
            </a:extLst>
          </p:cNvPr>
          <p:cNvSpPr/>
          <p:nvPr userDrawn="1"/>
        </p:nvSpPr>
        <p:spPr>
          <a:xfrm>
            <a:off x="1332140" y="2612428"/>
            <a:ext cx="405619" cy="172628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rgbClr val="E3E000"/>
              </a:solidFill>
            </a:endParaRPr>
          </a:p>
        </p:txBody>
      </p:sp>
      <p:sp>
        <p:nvSpPr>
          <p:cNvPr id="30" name="Háromszög 29">
            <a:extLst>
              <a:ext uri="{FF2B5EF4-FFF2-40B4-BE49-F238E27FC236}">
                <a16:creationId xmlns:a16="http://schemas.microsoft.com/office/drawing/2014/main" id="{FAE2849C-E684-429A-8932-39D530E266DC}"/>
              </a:ext>
            </a:extLst>
          </p:cNvPr>
          <p:cNvSpPr/>
          <p:nvPr userDrawn="1"/>
        </p:nvSpPr>
        <p:spPr>
          <a:xfrm rot="10800000">
            <a:off x="4947859" y="2785056"/>
            <a:ext cx="405619" cy="172628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rgbClr val="E3E000"/>
              </a:solidFill>
            </a:endParaRPr>
          </a:p>
        </p:txBody>
      </p:sp>
      <p:sp>
        <p:nvSpPr>
          <p:cNvPr id="20" name="Dátum helye 2">
            <a:extLst>
              <a:ext uri="{FF2B5EF4-FFF2-40B4-BE49-F238E27FC236}">
                <a16:creationId xmlns:a16="http://schemas.microsoft.com/office/drawing/2014/main" id="{17D4F566-8BDE-4BED-9DF9-EB85A9556C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981A9906-16BD-4E2A-A4EA-9B78041590E5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1" name="Dia számának helye 4">
            <a:extLst>
              <a:ext uri="{FF2B5EF4-FFF2-40B4-BE49-F238E27FC236}">
                <a16:creationId xmlns:a16="http://schemas.microsoft.com/office/drawing/2014/main" id="{E0B8A5A6-78CD-43C6-801B-F873C548B07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7627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997" y="1303858"/>
            <a:ext cx="3036887" cy="1570038"/>
          </a:xfrm>
          <a:solidFill>
            <a:srgbClr val="E3E000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94FD5881-81B1-4667-A638-167FEAC640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887" y="1303858"/>
            <a:ext cx="3036887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2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59262A-C60B-48FB-8B70-EF3FC5F6DE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8000" y="2873896"/>
            <a:ext cx="3036887" cy="1570038"/>
          </a:xfrm>
          <a:solidFill>
            <a:srgbClr val="B00402"/>
          </a:solidFill>
        </p:spPr>
        <p:txBody>
          <a:bodyPr lIns="72000" tIns="72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0"/>
            <a:endParaRPr lang="hu-HU" dirty="0"/>
          </a:p>
        </p:txBody>
      </p:sp>
      <p:sp>
        <p:nvSpPr>
          <p:cNvPr id="13" name="Szöveg helye 3">
            <a:extLst>
              <a:ext uri="{FF2B5EF4-FFF2-40B4-BE49-F238E27FC236}">
                <a16:creationId xmlns:a16="http://schemas.microsoft.com/office/drawing/2014/main" id="{D10983C0-27CC-445D-A6CB-418DA7DEA4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14887" y="2873896"/>
            <a:ext cx="3036887" cy="1570038"/>
          </a:xfrm>
          <a:solidFill>
            <a:srgbClr val="EA1C0A"/>
          </a:solidFill>
        </p:spPr>
        <p:txBody>
          <a:bodyPr lIns="72000" tIns="72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3</a:t>
            </a:r>
          </a:p>
          <a:p>
            <a:pPr lvl="0"/>
            <a:endParaRPr lang="hu-HU" dirty="0"/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EB10D0F2-E6E0-4A41-8C8A-D329CBA4E0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1372" y="3349751"/>
            <a:ext cx="533400" cy="403225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3</a:t>
            </a:r>
          </a:p>
        </p:txBody>
      </p:sp>
      <p:sp>
        <p:nvSpPr>
          <p:cNvPr id="21" name="Szöveg helye 4">
            <a:extLst>
              <a:ext uri="{FF2B5EF4-FFF2-40B4-BE49-F238E27FC236}">
                <a16:creationId xmlns:a16="http://schemas.microsoft.com/office/drawing/2014/main" id="{E4DBEC01-6652-4DEC-838C-F3C9266142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91372" y="1448505"/>
            <a:ext cx="533400" cy="403225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2</a:t>
            </a:r>
          </a:p>
        </p:txBody>
      </p:sp>
      <p:sp>
        <p:nvSpPr>
          <p:cNvPr id="22" name="Szöveg helye 4">
            <a:extLst>
              <a:ext uri="{FF2B5EF4-FFF2-40B4-BE49-F238E27FC236}">
                <a16:creationId xmlns:a16="http://schemas.microsoft.com/office/drawing/2014/main" id="{2678B767-0727-4F40-9668-060C762C22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54485" y="1454150"/>
            <a:ext cx="533400" cy="403225"/>
          </a:xfrm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1</a:t>
            </a:r>
          </a:p>
        </p:txBody>
      </p:sp>
      <p:sp>
        <p:nvSpPr>
          <p:cNvPr id="24" name="Szöveg helye 4">
            <a:extLst>
              <a:ext uri="{FF2B5EF4-FFF2-40B4-BE49-F238E27FC236}">
                <a16:creationId xmlns:a16="http://schemas.microsoft.com/office/drawing/2014/main" id="{419449BD-6DC9-40AD-B757-CA4395C354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54485" y="3349751"/>
            <a:ext cx="533400" cy="403225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4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E8BE75FA-D2DF-44CB-B67D-B250ED18D18F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4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30" name="Fußzeilenplatzhalter 6">
            <a:extLst>
              <a:ext uri="{FF2B5EF4-FFF2-40B4-BE49-F238E27FC236}">
                <a16:creationId xmlns:a16="http://schemas.microsoft.com/office/drawing/2014/main" id="{512BF7FD-4447-4556-995D-A7D05CD0AECA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5" name="Szöveg helye 2">
            <a:extLst>
              <a:ext uri="{FF2B5EF4-FFF2-40B4-BE49-F238E27FC236}">
                <a16:creationId xmlns:a16="http://schemas.microsoft.com/office/drawing/2014/main" id="{2094387C-9995-472B-A5CD-68107236E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497" y="2556660"/>
            <a:ext cx="3196696" cy="600841"/>
          </a:xfrm>
          <a:solidFill>
            <a:schemeClr val="bg1"/>
          </a:solidFill>
        </p:spPr>
        <p:txBody>
          <a:bodyPr lIns="0" tIns="21600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  <a:p>
            <a:pPr lvl="1"/>
            <a:endParaRPr lang="hu-HU" dirty="0"/>
          </a:p>
        </p:txBody>
      </p:sp>
      <p:sp>
        <p:nvSpPr>
          <p:cNvPr id="16" name="Háromszög 15">
            <a:extLst>
              <a:ext uri="{FF2B5EF4-FFF2-40B4-BE49-F238E27FC236}">
                <a16:creationId xmlns:a16="http://schemas.microsoft.com/office/drawing/2014/main" id="{617FCEE8-8077-4CA3-BE00-5F12BEAF5BF6}"/>
              </a:ext>
            </a:extLst>
          </p:cNvPr>
          <p:cNvSpPr/>
          <p:nvPr userDrawn="1"/>
        </p:nvSpPr>
        <p:spPr>
          <a:xfrm>
            <a:off x="1972461" y="3081906"/>
            <a:ext cx="254000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Háromszög 17">
            <a:extLst>
              <a:ext uri="{FF2B5EF4-FFF2-40B4-BE49-F238E27FC236}">
                <a16:creationId xmlns:a16="http://schemas.microsoft.com/office/drawing/2014/main" id="{5759663A-122A-46D0-BD7E-0146E7897576}"/>
              </a:ext>
            </a:extLst>
          </p:cNvPr>
          <p:cNvSpPr/>
          <p:nvPr userDrawn="1"/>
        </p:nvSpPr>
        <p:spPr>
          <a:xfrm>
            <a:off x="4470612" y="3082630"/>
            <a:ext cx="254000" cy="1219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8DF3C98F-4DA9-4A7D-88F3-98F79F2B7B2B}"/>
              </a:ext>
            </a:extLst>
          </p:cNvPr>
          <p:cNvSpPr/>
          <p:nvPr userDrawn="1"/>
        </p:nvSpPr>
        <p:spPr>
          <a:xfrm rot="10800000">
            <a:off x="1972461" y="2536873"/>
            <a:ext cx="254000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476312" y="2532086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Dátum helye 2">
            <a:extLst>
              <a:ext uri="{FF2B5EF4-FFF2-40B4-BE49-F238E27FC236}">
                <a16:creationId xmlns:a16="http://schemas.microsoft.com/office/drawing/2014/main" id="{8787DA3C-80E7-455D-B17B-5312192C17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00AEA34-B14F-438F-8DB1-F6F8D7B715D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3" name="Dia számának helye 4">
            <a:extLst>
              <a:ext uri="{FF2B5EF4-FFF2-40B4-BE49-F238E27FC236}">
                <a16:creationId xmlns:a16="http://schemas.microsoft.com/office/drawing/2014/main" id="{01DA2C41-BC84-4D43-8565-BAEC6E50021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5005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331" y="1229566"/>
            <a:ext cx="2026800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59262A-C60B-48FB-8B70-EF3FC5F6DE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5331" y="3406321"/>
            <a:ext cx="3078517" cy="1570038"/>
          </a:xfrm>
          <a:solidFill>
            <a:srgbClr val="B00402"/>
          </a:solidFill>
        </p:spPr>
        <p:txBody>
          <a:bodyPr lIns="72000" tIns="72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3" name="Szöveg helye 3">
            <a:extLst>
              <a:ext uri="{FF2B5EF4-FFF2-40B4-BE49-F238E27FC236}">
                <a16:creationId xmlns:a16="http://schemas.microsoft.com/office/drawing/2014/main" id="{D10983C0-27CC-445D-A6CB-418DA7DEA4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700" y="3406321"/>
            <a:ext cx="3036887" cy="1570038"/>
          </a:xfrm>
          <a:solidFill>
            <a:srgbClr val="EA1C0A"/>
          </a:solidFill>
        </p:spPr>
        <p:txBody>
          <a:bodyPr lIns="72000" tIns="72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3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217E05B3-A439-4857-AD4B-77A72136D1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4559" y="1229566"/>
            <a:ext cx="2026800" cy="1570038"/>
          </a:xfrm>
          <a:solidFill>
            <a:srgbClr val="E3E000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8" name="Szöveg helye 3">
            <a:extLst>
              <a:ext uri="{FF2B5EF4-FFF2-40B4-BE49-F238E27FC236}">
                <a16:creationId xmlns:a16="http://schemas.microsoft.com/office/drawing/2014/main" id="{1729C59A-9A1D-480D-911D-C7C1F5EE32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3787" y="1233647"/>
            <a:ext cx="2026800" cy="1570038"/>
          </a:xfrm>
          <a:solidFill>
            <a:srgbClr val="B00402">
              <a:alpha val="68000"/>
            </a:srgbClr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BC774507-2005-4AF3-ABD1-F03BD8E6F687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5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EC2A7F22-64DE-469F-85E0-447A6F816D0A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2" name="Szöveg helye 2">
            <a:extLst>
              <a:ext uri="{FF2B5EF4-FFF2-40B4-BE49-F238E27FC236}">
                <a16:creationId xmlns:a16="http://schemas.microsoft.com/office/drawing/2014/main" id="{25172B56-8D6F-4930-B7D6-066453E94D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5331" y="2805699"/>
            <a:ext cx="6105256" cy="600841"/>
          </a:xfrm>
          <a:noFill/>
        </p:spPr>
        <p:txBody>
          <a:bodyPr lIns="0" tIns="25200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  <a:p>
            <a:pPr lvl="1"/>
            <a:endParaRPr lang="hu-HU" dirty="0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835143" y="3412635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Háromszög 17">
            <a:extLst>
              <a:ext uri="{FF2B5EF4-FFF2-40B4-BE49-F238E27FC236}">
                <a16:creationId xmlns:a16="http://schemas.microsoft.com/office/drawing/2014/main" id="{5759663A-122A-46D0-BD7E-0146E7897576}"/>
              </a:ext>
            </a:extLst>
          </p:cNvPr>
          <p:cNvSpPr/>
          <p:nvPr userDrawn="1"/>
        </p:nvSpPr>
        <p:spPr>
          <a:xfrm>
            <a:off x="3287676" y="2681765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Háromszög 28">
            <a:extLst>
              <a:ext uri="{FF2B5EF4-FFF2-40B4-BE49-F238E27FC236}">
                <a16:creationId xmlns:a16="http://schemas.microsoft.com/office/drawing/2014/main" id="{347C4DBA-6496-46DB-B3A0-4AB86AF07F81}"/>
              </a:ext>
            </a:extLst>
          </p:cNvPr>
          <p:cNvSpPr/>
          <p:nvPr userDrawn="1"/>
        </p:nvSpPr>
        <p:spPr>
          <a:xfrm>
            <a:off x="1264222" y="2677684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0" name="Háromszög 29">
            <a:extLst>
              <a:ext uri="{FF2B5EF4-FFF2-40B4-BE49-F238E27FC236}">
                <a16:creationId xmlns:a16="http://schemas.microsoft.com/office/drawing/2014/main" id="{80722B11-3DEA-450A-847E-838A2E222F7D}"/>
              </a:ext>
            </a:extLst>
          </p:cNvPr>
          <p:cNvSpPr/>
          <p:nvPr userDrawn="1"/>
        </p:nvSpPr>
        <p:spPr>
          <a:xfrm>
            <a:off x="5329287" y="2677684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Háromszög 30">
            <a:extLst>
              <a:ext uri="{FF2B5EF4-FFF2-40B4-BE49-F238E27FC236}">
                <a16:creationId xmlns:a16="http://schemas.microsoft.com/office/drawing/2014/main" id="{66467C15-6DC3-40DC-85BD-23ADFBC544C3}"/>
              </a:ext>
            </a:extLst>
          </p:cNvPr>
          <p:cNvSpPr/>
          <p:nvPr userDrawn="1"/>
        </p:nvSpPr>
        <p:spPr>
          <a:xfrm rot="10800000">
            <a:off x="1782516" y="3406540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Dátum helye 2">
            <a:extLst>
              <a:ext uri="{FF2B5EF4-FFF2-40B4-BE49-F238E27FC236}">
                <a16:creationId xmlns:a16="http://schemas.microsoft.com/office/drawing/2014/main" id="{25F564B3-E65F-4AFD-8385-6B08858CFF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985AF60-1998-43E9-B42D-A1BDE9DD14C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1" name="Dia számának helye 4">
            <a:extLst>
              <a:ext uri="{FF2B5EF4-FFF2-40B4-BE49-F238E27FC236}">
                <a16:creationId xmlns:a16="http://schemas.microsoft.com/office/drawing/2014/main" id="{E700D6AB-0BA1-4B85-8B12-764FEBC5A2A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783268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 (0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331" y="1229566"/>
            <a:ext cx="3052800" cy="1570038"/>
          </a:xfrm>
          <a:solidFill>
            <a:srgbClr val="5CC1CB"/>
          </a:solidFill>
        </p:spPr>
        <p:txBody>
          <a:bodyPr lIns="72000" tIns="144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12" name="Szöveg helye 3">
            <a:extLst>
              <a:ext uri="{FF2B5EF4-FFF2-40B4-BE49-F238E27FC236}">
                <a16:creationId xmlns:a16="http://schemas.microsoft.com/office/drawing/2014/main" id="{2B59262A-C60B-48FB-8B70-EF3FC5F6DE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5331" y="3406321"/>
            <a:ext cx="3078517" cy="1570038"/>
          </a:xfrm>
          <a:solidFill>
            <a:srgbClr val="B00402"/>
          </a:solidFill>
        </p:spPr>
        <p:txBody>
          <a:bodyPr lIns="72000" tIns="144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0"/>
            <a:endParaRPr lang="hu-HU" dirty="0"/>
          </a:p>
        </p:txBody>
      </p:sp>
      <p:sp>
        <p:nvSpPr>
          <p:cNvPr id="13" name="Szöveg helye 3">
            <a:extLst>
              <a:ext uri="{FF2B5EF4-FFF2-40B4-BE49-F238E27FC236}">
                <a16:creationId xmlns:a16="http://schemas.microsoft.com/office/drawing/2014/main" id="{D10983C0-27CC-445D-A6CB-418DA7DEA4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700" y="3406321"/>
            <a:ext cx="3036887" cy="1570038"/>
          </a:xfrm>
          <a:solidFill>
            <a:srgbClr val="EA1C0A"/>
          </a:solidFill>
        </p:spPr>
        <p:txBody>
          <a:bodyPr lIns="72000" tIns="144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3</a:t>
            </a:r>
          </a:p>
          <a:p>
            <a:pPr lvl="0"/>
            <a:endParaRPr lang="hu-HU" dirty="0"/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217E05B3-A439-4857-AD4B-77A72136D1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1088" y="1242210"/>
            <a:ext cx="3052800" cy="1570038"/>
          </a:xfrm>
          <a:solidFill>
            <a:srgbClr val="E3E000"/>
          </a:solidFill>
        </p:spPr>
        <p:txBody>
          <a:bodyPr lIns="72000" tIns="144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EC2A7F22-64DE-469F-85E0-447A6F816D0A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2" name="Szöveg helye 2">
            <a:extLst>
              <a:ext uri="{FF2B5EF4-FFF2-40B4-BE49-F238E27FC236}">
                <a16:creationId xmlns:a16="http://schemas.microsoft.com/office/drawing/2014/main" id="{25172B56-8D6F-4930-B7D6-066453E94D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5331" y="2805699"/>
            <a:ext cx="6105256" cy="600841"/>
          </a:xfrm>
          <a:noFill/>
        </p:spPr>
        <p:txBody>
          <a:bodyPr lIns="0" tIns="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  <a:p>
            <a:pPr lvl="1"/>
            <a:endParaRPr lang="hu-HU" dirty="0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830488" y="3412635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Háromszög 28">
            <a:extLst>
              <a:ext uri="{FF2B5EF4-FFF2-40B4-BE49-F238E27FC236}">
                <a16:creationId xmlns:a16="http://schemas.microsoft.com/office/drawing/2014/main" id="{347C4DBA-6496-46DB-B3A0-4AB86AF07F81}"/>
              </a:ext>
            </a:extLst>
          </p:cNvPr>
          <p:cNvSpPr/>
          <p:nvPr userDrawn="1"/>
        </p:nvSpPr>
        <p:spPr>
          <a:xfrm>
            <a:off x="1782516" y="2671942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0" name="Háromszög 29">
            <a:extLst>
              <a:ext uri="{FF2B5EF4-FFF2-40B4-BE49-F238E27FC236}">
                <a16:creationId xmlns:a16="http://schemas.microsoft.com/office/drawing/2014/main" id="{80722B11-3DEA-450A-847E-838A2E222F7D}"/>
              </a:ext>
            </a:extLst>
          </p:cNvPr>
          <p:cNvSpPr/>
          <p:nvPr userDrawn="1"/>
        </p:nvSpPr>
        <p:spPr>
          <a:xfrm>
            <a:off x="4838273" y="2689219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Háromszög 30">
            <a:extLst>
              <a:ext uri="{FF2B5EF4-FFF2-40B4-BE49-F238E27FC236}">
                <a16:creationId xmlns:a16="http://schemas.microsoft.com/office/drawing/2014/main" id="{66467C15-6DC3-40DC-85BD-23ADFBC544C3}"/>
              </a:ext>
            </a:extLst>
          </p:cNvPr>
          <p:cNvSpPr/>
          <p:nvPr userDrawn="1"/>
        </p:nvSpPr>
        <p:spPr>
          <a:xfrm rot="10800000">
            <a:off x="1782516" y="3406540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98526399-CB03-4D63-BBFD-A43F44831A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331" y="1700586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17" name="Szöveg helye 13">
            <a:extLst>
              <a:ext uri="{FF2B5EF4-FFF2-40B4-BE49-F238E27FC236}">
                <a16:creationId xmlns:a16="http://schemas.microsoft.com/office/drawing/2014/main" id="{FA9D7995-BD0F-498A-81B6-89B9BAC822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959" y="1695645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15EBB998-D682-443C-AFEF-10FB81938B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5331" y="3832372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0" name="Szöveg helye 13">
            <a:extLst>
              <a:ext uri="{FF2B5EF4-FFF2-40B4-BE49-F238E27FC236}">
                <a16:creationId xmlns:a16="http://schemas.microsoft.com/office/drawing/2014/main" id="{11CC66A8-EA27-45AE-9AEE-CC88878BB41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53848" y="3837672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8" name="Cím 1">
            <a:extLst>
              <a:ext uri="{FF2B5EF4-FFF2-40B4-BE49-F238E27FC236}">
                <a16:creationId xmlns:a16="http://schemas.microsoft.com/office/drawing/2014/main" id="{D4A6864E-6673-4804-98C0-9905491772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4 </a:t>
            </a:r>
            <a:r>
              <a:rPr lang="hu-HU" dirty="0" err="1"/>
              <a:t>Elements</a:t>
            </a:r>
            <a:endParaRPr lang="hu-HU" dirty="0"/>
          </a:p>
        </p:txBody>
      </p:sp>
      <p:sp>
        <p:nvSpPr>
          <p:cNvPr id="21" name="Dátum helye 2">
            <a:extLst>
              <a:ext uri="{FF2B5EF4-FFF2-40B4-BE49-F238E27FC236}">
                <a16:creationId xmlns:a16="http://schemas.microsoft.com/office/drawing/2014/main" id="{32719144-EE74-4A51-B8F7-3A3521497D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1A6634C2-1932-45FF-B5EA-C255648785A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3" name="Dia számának helye 4">
            <a:extLst>
              <a:ext uri="{FF2B5EF4-FFF2-40B4-BE49-F238E27FC236}">
                <a16:creationId xmlns:a16="http://schemas.microsoft.com/office/drawing/2014/main" id="{53EDBE5B-5F82-454C-A26B-0F34B9DA54E9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22245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331" y="1117594"/>
            <a:ext cx="2026800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835143" y="3406321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217E05B3-A439-4857-AD4B-77A72136D1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4559" y="1112158"/>
            <a:ext cx="2026800" cy="1570038"/>
          </a:xfrm>
          <a:solidFill>
            <a:srgbClr val="E3E000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8" name="Szöveg helye 3">
            <a:extLst>
              <a:ext uri="{FF2B5EF4-FFF2-40B4-BE49-F238E27FC236}">
                <a16:creationId xmlns:a16="http://schemas.microsoft.com/office/drawing/2014/main" id="{1729C59A-9A1D-480D-911D-C7C1F5EE32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3787" y="1109760"/>
            <a:ext cx="2026800" cy="1570038"/>
          </a:xfrm>
          <a:solidFill>
            <a:srgbClr val="B00402">
              <a:alpha val="68000"/>
            </a:srgbClr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8" name="Háromszög 17">
            <a:extLst>
              <a:ext uri="{FF2B5EF4-FFF2-40B4-BE49-F238E27FC236}">
                <a16:creationId xmlns:a16="http://schemas.microsoft.com/office/drawing/2014/main" id="{5759663A-122A-46D0-BD7E-0146E7897576}"/>
              </a:ext>
            </a:extLst>
          </p:cNvPr>
          <p:cNvSpPr/>
          <p:nvPr userDrawn="1"/>
        </p:nvSpPr>
        <p:spPr>
          <a:xfrm>
            <a:off x="3329127" y="3406321"/>
            <a:ext cx="254000" cy="1219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Háromszög 28">
            <a:extLst>
              <a:ext uri="{FF2B5EF4-FFF2-40B4-BE49-F238E27FC236}">
                <a16:creationId xmlns:a16="http://schemas.microsoft.com/office/drawing/2014/main" id="{347C4DBA-6496-46DB-B3A0-4AB86AF07F81}"/>
              </a:ext>
            </a:extLst>
          </p:cNvPr>
          <p:cNvSpPr/>
          <p:nvPr userDrawn="1"/>
        </p:nvSpPr>
        <p:spPr>
          <a:xfrm>
            <a:off x="1260851" y="3389854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0" name="Háromszög 29">
            <a:extLst>
              <a:ext uri="{FF2B5EF4-FFF2-40B4-BE49-F238E27FC236}">
                <a16:creationId xmlns:a16="http://schemas.microsoft.com/office/drawing/2014/main" id="{80722B11-3DEA-450A-847E-838A2E222F7D}"/>
              </a:ext>
            </a:extLst>
          </p:cNvPr>
          <p:cNvSpPr/>
          <p:nvPr userDrawn="1"/>
        </p:nvSpPr>
        <p:spPr>
          <a:xfrm>
            <a:off x="5288201" y="3393935"/>
            <a:ext cx="254000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Háromszög 30">
            <a:extLst>
              <a:ext uri="{FF2B5EF4-FFF2-40B4-BE49-F238E27FC236}">
                <a16:creationId xmlns:a16="http://schemas.microsoft.com/office/drawing/2014/main" id="{66467C15-6DC3-40DC-85BD-23ADFBC544C3}"/>
              </a:ext>
            </a:extLst>
          </p:cNvPr>
          <p:cNvSpPr/>
          <p:nvPr userDrawn="1"/>
        </p:nvSpPr>
        <p:spPr>
          <a:xfrm rot="10800000">
            <a:off x="1782516" y="3406540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Szöveg helye 3">
            <a:extLst>
              <a:ext uri="{FF2B5EF4-FFF2-40B4-BE49-F238E27FC236}">
                <a16:creationId xmlns:a16="http://schemas.microsoft.com/office/drawing/2014/main" id="{8321FA8F-ADFE-48C7-A2EE-8DD8832D70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452" y="3507902"/>
            <a:ext cx="2026800" cy="1570038"/>
          </a:xfrm>
          <a:solidFill>
            <a:srgbClr val="5CC1CB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1" name="Szöveg helye 3">
            <a:extLst>
              <a:ext uri="{FF2B5EF4-FFF2-40B4-BE49-F238E27FC236}">
                <a16:creationId xmlns:a16="http://schemas.microsoft.com/office/drawing/2014/main" id="{88B397A1-0F22-44D6-B6F3-FA2A0637A0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14559" y="3513544"/>
            <a:ext cx="2026800" cy="1570038"/>
          </a:xfrm>
          <a:solidFill>
            <a:srgbClr val="EA1C0A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2" name="Szöveg helye 3">
            <a:extLst>
              <a:ext uri="{FF2B5EF4-FFF2-40B4-BE49-F238E27FC236}">
                <a16:creationId xmlns:a16="http://schemas.microsoft.com/office/drawing/2014/main" id="{8342F940-BC6E-4AEC-BE81-EC5255F952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41359" y="3513544"/>
            <a:ext cx="2026800" cy="1570038"/>
          </a:xfrm>
          <a:solidFill>
            <a:srgbClr val="B00402"/>
          </a:solidFill>
        </p:spPr>
        <p:txBody>
          <a:bodyPr lIns="72000" tIns="72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32" name="Háromszög 31">
            <a:extLst>
              <a:ext uri="{FF2B5EF4-FFF2-40B4-BE49-F238E27FC236}">
                <a16:creationId xmlns:a16="http://schemas.microsoft.com/office/drawing/2014/main" id="{DE61D609-F500-4B1B-93BE-BEE561348048}"/>
              </a:ext>
            </a:extLst>
          </p:cNvPr>
          <p:cNvSpPr/>
          <p:nvPr userDrawn="1"/>
        </p:nvSpPr>
        <p:spPr>
          <a:xfrm rot="10800000">
            <a:off x="1260852" y="2687632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3" name="Háromszög 32">
            <a:extLst>
              <a:ext uri="{FF2B5EF4-FFF2-40B4-BE49-F238E27FC236}">
                <a16:creationId xmlns:a16="http://schemas.microsoft.com/office/drawing/2014/main" id="{F7C70D7C-2A97-4358-B3C3-A626191154CA}"/>
              </a:ext>
            </a:extLst>
          </p:cNvPr>
          <p:cNvSpPr/>
          <p:nvPr userDrawn="1"/>
        </p:nvSpPr>
        <p:spPr>
          <a:xfrm rot="10800000">
            <a:off x="3329127" y="2684922"/>
            <a:ext cx="254000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4" name="Háromszög 33">
            <a:extLst>
              <a:ext uri="{FF2B5EF4-FFF2-40B4-BE49-F238E27FC236}">
                <a16:creationId xmlns:a16="http://schemas.microsoft.com/office/drawing/2014/main" id="{B61BE604-1BC3-42FF-B956-B023DF7555F3}"/>
              </a:ext>
            </a:extLst>
          </p:cNvPr>
          <p:cNvSpPr/>
          <p:nvPr userDrawn="1"/>
        </p:nvSpPr>
        <p:spPr>
          <a:xfrm rot="10800000">
            <a:off x="5288201" y="2684921"/>
            <a:ext cx="254000" cy="121920"/>
          </a:xfrm>
          <a:prstGeom prst="triangle">
            <a:avLst/>
          </a:prstGeom>
          <a:solidFill>
            <a:srgbClr val="B00402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4E46140-A8D8-429D-B0DB-D34FCB011825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6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37" name="Fußzeilenplatzhalter 6">
            <a:extLst>
              <a:ext uri="{FF2B5EF4-FFF2-40B4-BE49-F238E27FC236}">
                <a16:creationId xmlns:a16="http://schemas.microsoft.com/office/drawing/2014/main" id="{F8E8AB89-545E-4DF6-BFE3-1FD9D206AE0F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62BFC7AE-60F0-444E-9AE0-7ACA099996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89537" y="2748586"/>
            <a:ext cx="3196696" cy="600841"/>
          </a:xfrm>
          <a:noFill/>
        </p:spPr>
        <p:txBody>
          <a:bodyPr lIns="0" tIns="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  <a:p>
            <a:pPr lvl="1"/>
            <a:endParaRPr lang="hu-HU" dirty="0"/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0A7EC0AF-2768-46CA-AFDC-631A2AA6F3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B791DB10-521D-4BC6-AAAD-D1FFB26702C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5" name="Dia számának helye 4">
            <a:extLst>
              <a:ext uri="{FF2B5EF4-FFF2-40B4-BE49-F238E27FC236}">
                <a16:creationId xmlns:a16="http://schemas.microsoft.com/office/drawing/2014/main" id="{7F8B46CA-6FD1-4C76-8694-ED668618E06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65958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331" y="1117594"/>
            <a:ext cx="2026800" cy="1570038"/>
          </a:xfrm>
          <a:solidFill>
            <a:srgbClr val="5CC1CB"/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835143" y="3406321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Háromszög 30">
            <a:extLst>
              <a:ext uri="{FF2B5EF4-FFF2-40B4-BE49-F238E27FC236}">
                <a16:creationId xmlns:a16="http://schemas.microsoft.com/office/drawing/2014/main" id="{66467C15-6DC3-40DC-85BD-23ADFBC544C3}"/>
              </a:ext>
            </a:extLst>
          </p:cNvPr>
          <p:cNvSpPr/>
          <p:nvPr userDrawn="1"/>
        </p:nvSpPr>
        <p:spPr>
          <a:xfrm rot="10800000">
            <a:off x="1782516" y="3406540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Háromszög 31">
            <a:extLst>
              <a:ext uri="{FF2B5EF4-FFF2-40B4-BE49-F238E27FC236}">
                <a16:creationId xmlns:a16="http://schemas.microsoft.com/office/drawing/2014/main" id="{DE61D609-F500-4B1B-93BE-BEE561348048}"/>
              </a:ext>
            </a:extLst>
          </p:cNvPr>
          <p:cNvSpPr/>
          <p:nvPr userDrawn="1"/>
        </p:nvSpPr>
        <p:spPr>
          <a:xfrm rot="10800000">
            <a:off x="1260852" y="2674804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3" name="Szöveg helye 3">
            <a:extLst>
              <a:ext uri="{FF2B5EF4-FFF2-40B4-BE49-F238E27FC236}">
                <a16:creationId xmlns:a16="http://schemas.microsoft.com/office/drawing/2014/main" id="{0CD43C4B-7EC9-4F50-AFDD-C25BC48F4F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02131" y="1116030"/>
            <a:ext cx="2026800" cy="1570038"/>
          </a:xfrm>
          <a:solidFill>
            <a:srgbClr val="5CC1CB">
              <a:alpha val="68000"/>
            </a:srgbClr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5" name="Szöveg helye 3">
            <a:extLst>
              <a:ext uri="{FF2B5EF4-FFF2-40B4-BE49-F238E27FC236}">
                <a16:creationId xmlns:a16="http://schemas.microsoft.com/office/drawing/2014/main" id="{05FC623B-DB91-4F20-A987-74FCDB994D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7172" y="1117594"/>
            <a:ext cx="2026800" cy="1570038"/>
          </a:xfrm>
          <a:solidFill>
            <a:srgbClr val="E3E000"/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rgbClr val="C00000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C00000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35" name="Szöveg helye 3">
            <a:extLst>
              <a:ext uri="{FF2B5EF4-FFF2-40B4-BE49-F238E27FC236}">
                <a16:creationId xmlns:a16="http://schemas.microsoft.com/office/drawing/2014/main" id="{1F5C8811-1CC0-4BFB-B655-7D431A3D2C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3972" y="1117594"/>
            <a:ext cx="2026800" cy="1570038"/>
          </a:xfrm>
          <a:solidFill>
            <a:srgbClr val="E3E000">
              <a:alpha val="68000"/>
            </a:srgbClr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rgbClr val="C00000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C00000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37" name="Szöveg helye 3">
            <a:extLst>
              <a:ext uri="{FF2B5EF4-FFF2-40B4-BE49-F238E27FC236}">
                <a16:creationId xmlns:a16="http://schemas.microsoft.com/office/drawing/2014/main" id="{2898B118-976F-48C8-A30B-280ACDAF93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999" y="3513291"/>
            <a:ext cx="2700000" cy="1570038"/>
          </a:xfrm>
          <a:solidFill>
            <a:srgbClr val="EA1C0A"/>
          </a:solidFill>
        </p:spPr>
        <p:txBody>
          <a:bodyPr lIns="108000" tIns="180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40" name="Szöveg helye 3">
            <a:extLst>
              <a:ext uri="{FF2B5EF4-FFF2-40B4-BE49-F238E27FC236}">
                <a16:creationId xmlns:a16="http://schemas.microsoft.com/office/drawing/2014/main" id="{466FF218-6C9A-4AED-A7AF-5F3CE93E6B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78931" y="3513291"/>
            <a:ext cx="2700000" cy="1570038"/>
          </a:xfrm>
          <a:solidFill>
            <a:srgbClr val="B00402"/>
          </a:solidFill>
        </p:spPr>
        <p:txBody>
          <a:bodyPr lIns="108000" tIns="180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41" name="Szöveg helye 3">
            <a:extLst>
              <a:ext uri="{FF2B5EF4-FFF2-40B4-BE49-F238E27FC236}">
                <a16:creationId xmlns:a16="http://schemas.microsoft.com/office/drawing/2014/main" id="{96046043-7941-4667-9C2E-1B1452FA49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80772" y="3508405"/>
            <a:ext cx="2700000" cy="1570038"/>
          </a:xfrm>
          <a:solidFill>
            <a:srgbClr val="B00402">
              <a:alpha val="68000"/>
            </a:srgbClr>
          </a:solidFill>
        </p:spPr>
        <p:txBody>
          <a:bodyPr lIns="108000" tIns="180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42" name="Háromszög 41">
            <a:extLst>
              <a:ext uri="{FF2B5EF4-FFF2-40B4-BE49-F238E27FC236}">
                <a16:creationId xmlns:a16="http://schemas.microsoft.com/office/drawing/2014/main" id="{AA498EA7-4E25-4BDF-B855-412F8A22B20A}"/>
              </a:ext>
            </a:extLst>
          </p:cNvPr>
          <p:cNvSpPr/>
          <p:nvPr userDrawn="1"/>
        </p:nvSpPr>
        <p:spPr>
          <a:xfrm>
            <a:off x="1569335" y="3403071"/>
            <a:ext cx="254000" cy="121920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3" name="Háromszög 42">
            <a:extLst>
              <a:ext uri="{FF2B5EF4-FFF2-40B4-BE49-F238E27FC236}">
                <a16:creationId xmlns:a16="http://schemas.microsoft.com/office/drawing/2014/main" id="{306AC22B-D71C-44FF-B2FF-84785F24454F}"/>
              </a:ext>
            </a:extLst>
          </p:cNvPr>
          <p:cNvSpPr/>
          <p:nvPr userDrawn="1"/>
        </p:nvSpPr>
        <p:spPr>
          <a:xfrm>
            <a:off x="4269335" y="3406541"/>
            <a:ext cx="254000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4" name="Háromszög 43">
            <a:extLst>
              <a:ext uri="{FF2B5EF4-FFF2-40B4-BE49-F238E27FC236}">
                <a16:creationId xmlns:a16="http://schemas.microsoft.com/office/drawing/2014/main" id="{33440D52-A8E8-4724-A721-CC6F47E3BD9B}"/>
              </a:ext>
            </a:extLst>
          </p:cNvPr>
          <p:cNvSpPr/>
          <p:nvPr userDrawn="1"/>
        </p:nvSpPr>
        <p:spPr>
          <a:xfrm>
            <a:off x="6964890" y="3386485"/>
            <a:ext cx="254000" cy="121920"/>
          </a:xfrm>
          <a:prstGeom prst="triangle">
            <a:avLst/>
          </a:prstGeom>
          <a:solidFill>
            <a:srgbClr val="B00402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E9B3511F-95C0-426C-B391-067A0E58352E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7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38" name="Fußzeilenplatzhalter 6">
            <a:extLst>
              <a:ext uri="{FF2B5EF4-FFF2-40B4-BE49-F238E27FC236}">
                <a16:creationId xmlns:a16="http://schemas.microsoft.com/office/drawing/2014/main" id="{FE45D106-AA19-4624-95D7-8D5B5932CFE5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7" name="Szöveg helye 2">
            <a:extLst>
              <a:ext uri="{FF2B5EF4-FFF2-40B4-BE49-F238E27FC236}">
                <a16:creationId xmlns:a16="http://schemas.microsoft.com/office/drawing/2014/main" id="{E81F5A83-A324-433C-BC35-D12911005D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6304" y="2763834"/>
            <a:ext cx="5134346" cy="600841"/>
          </a:xfrm>
          <a:noFill/>
        </p:spPr>
        <p:txBody>
          <a:bodyPr lIns="0" tIns="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/>
              <a:t>Text</a:t>
            </a:r>
          </a:p>
          <a:p>
            <a:pPr lvl="1"/>
            <a:endParaRPr lang="hu-HU" dirty="0"/>
          </a:p>
        </p:txBody>
      </p:sp>
      <p:sp>
        <p:nvSpPr>
          <p:cNvPr id="24" name="Háromszög 23">
            <a:extLst>
              <a:ext uri="{FF2B5EF4-FFF2-40B4-BE49-F238E27FC236}">
                <a16:creationId xmlns:a16="http://schemas.microsoft.com/office/drawing/2014/main" id="{EFDB2809-A9DD-4D7C-85E3-54BC21F6DB67}"/>
              </a:ext>
            </a:extLst>
          </p:cNvPr>
          <p:cNvSpPr/>
          <p:nvPr userDrawn="1"/>
        </p:nvSpPr>
        <p:spPr>
          <a:xfrm rot="10800000">
            <a:off x="3285893" y="2686068"/>
            <a:ext cx="254000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6" name="Háromszög 25">
            <a:extLst>
              <a:ext uri="{FF2B5EF4-FFF2-40B4-BE49-F238E27FC236}">
                <a16:creationId xmlns:a16="http://schemas.microsoft.com/office/drawing/2014/main" id="{8F43C5E9-858B-4BF4-AA91-E38B098F594A}"/>
              </a:ext>
            </a:extLst>
          </p:cNvPr>
          <p:cNvSpPr/>
          <p:nvPr userDrawn="1"/>
        </p:nvSpPr>
        <p:spPr>
          <a:xfrm rot="10800000">
            <a:off x="5314452" y="2693054"/>
            <a:ext cx="254000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6" name="Háromszög 35">
            <a:extLst>
              <a:ext uri="{FF2B5EF4-FFF2-40B4-BE49-F238E27FC236}">
                <a16:creationId xmlns:a16="http://schemas.microsoft.com/office/drawing/2014/main" id="{DF31E69D-FB37-48C4-9492-4C2E4DF01C78}"/>
              </a:ext>
            </a:extLst>
          </p:cNvPr>
          <p:cNvSpPr/>
          <p:nvPr userDrawn="1"/>
        </p:nvSpPr>
        <p:spPr>
          <a:xfrm rot="10800000">
            <a:off x="7339493" y="2687632"/>
            <a:ext cx="254000" cy="121920"/>
          </a:xfrm>
          <a:prstGeom prst="triangle">
            <a:avLst/>
          </a:prstGeom>
          <a:solidFill>
            <a:srgbClr val="E3E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76324114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Elements (0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3B7E4F70-9666-49E2-819C-26F2CC5F02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331" y="891621"/>
            <a:ext cx="2026800" cy="1570038"/>
          </a:xfrm>
          <a:solidFill>
            <a:srgbClr val="5CC1CB"/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47BCBE6-09C0-43D5-ABCF-9C2B846C9FE7}"/>
              </a:ext>
            </a:extLst>
          </p:cNvPr>
          <p:cNvSpPr/>
          <p:nvPr userDrawn="1"/>
        </p:nvSpPr>
        <p:spPr>
          <a:xfrm rot="10800000">
            <a:off x="3287886" y="3260725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C5220CDE-3A0E-4ED3-AEC6-AAC773E84F36}"/>
              </a:ext>
            </a:extLst>
          </p:cNvPr>
          <p:cNvSpPr/>
          <p:nvPr userDrawn="1"/>
        </p:nvSpPr>
        <p:spPr>
          <a:xfrm rot="10800000">
            <a:off x="4835143" y="3406321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Háromszög 30">
            <a:extLst>
              <a:ext uri="{FF2B5EF4-FFF2-40B4-BE49-F238E27FC236}">
                <a16:creationId xmlns:a16="http://schemas.microsoft.com/office/drawing/2014/main" id="{66467C15-6DC3-40DC-85BD-23ADFBC544C3}"/>
              </a:ext>
            </a:extLst>
          </p:cNvPr>
          <p:cNvSpPr/>
          <p:nvPr userDrawn="1"/>
        </p:nvSpPr>
        <p:spPr>
          <a:xfrm rot="10800000">
            <a:off x="1782516" y="3406540"/>
            <a:ext cx="254000" cy="121920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Háromszög 31">
            <a:extLst>
              <a:ext uri="{FF2B5EF4-FFF2-40B4-BE49-F238E27FC236}">
                <a16:creationId xmlns:a16="http://schemas.microsoft.com/office/drawing/2014/main" id="{DE61D609-F500-4B1B-93BE-BEE561348048}"/>
              </a:ext>
            </a:extLst>
          </p:cNvPr>
          <p:cNvSpPr/>
          <p:nvPr userDrawn="1"/>
        </p:nvSpPr>
        <p:spPr>
          <a:xfrm>
            <a:off x="1261731" y="2338175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3" name="Szöveg helye 3">
            <a:extLst>
              <a:ext uri="{FF2B5EF4-FFF2-40B4-BE49-F238E27FC236}">
                <a16:creationId xmlns:a16="http://schemas.microsoft.com/office/drawing/2014/main" id="{0CD43C4B-7EC9-4F50-AFDD-C25BC48F4F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02131" y="890057"/>
            <a:ext cx="2026800" cy="1570038"/>
          </a:xfrm>
          <a:solidFill>
            <a:srgbClr val="5CC1CB">
              <a:alpha val="68000"/>
            </a:srgbClr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25" name="Szöveg helye 3">
            <a:extLst>
              <a:ext uri="{FF2B5EF4-FFF2-40B4-BE49-F238E27FC236}">
                <a16:creationId xmlns:a16="http://schemas.microsoft.com/office/drawing/2014/main" id="{05FC623B-DB91-4F20-A987-74FCDB994D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7172" y="891621"/>
            <a:ext cx="2026800" cy="1570038"/>
          </a:xfrm>
          <a:solidFill>
            <a:srgbClr val="E3E000"/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rgbClr val="C00000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C00000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35" name="Szöveg helye 3">
            <a:extLst>
              <a:ext uri="{FF2B5EF4-FFF2-40B4-BE49-F238E27FC236}">
                <a16:creationId xmlns:a16="http://schemas.microsoft.com/office/drawing/2014/main" id="{1F5C8811-1CC0-4BFB-B655-7D431A3D2C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3972" y="891621"/>
            <a:ext cx="2026800" cy="1570038"/>
          </a:xfrm>
          <a:solidFill>
            <a:srgbClr val="E3E000">
              <a:alpha val="68000"/>
            </a:srgbClr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rgbClr val="C00000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C00000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rgbClr val="C00000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37" name="Szöveg helye 3">
            <a:extLst>
              <a:ext uri="{FF2B5EF4-FFF2-40B4-BE49-F238E27FC236}">
                <a16:creationId xmlns:a16="http://schemas.microsoft.com/office/drawing/2014/main" id="{2898B118-976F-48C8-A30B-280ACDAF93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999" y="3287318"/>
            <a:ext cx="2026800" cy="1570038"/>
          </a:xfrm>
          <a:solidFill>
            <a:srgbClr val="EA1C0A"/>
          </a:solidFill>
        </p:spPr>
        <p:txBody>
          <a:bodyPr lIns="108000" tIns="180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0"/>
            <a:endParaRPr lang="hu-HU" dirty="0"/>
          </a:p>
        </p:txBody>
      </p:sp>
      <p:sp>
        <p:nvSpPr>
          <p:cNvPr id="40" name="Szöveg helye 3">
            <a:extLst>
              <a:ext uri="{FF2B5EF4-FFF2-40B4-BE49-F238E27FC236}">
                <a16:creationId xmlns:a16="http://schemas.microsoft.com/office/drawing/2014/main" id="{466FF218-6C9A-4AED-A7AF-5F3CE93E6B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04799" y="3282432"/>
            <a:ext cx="2026800" cy="1570038"/>
          </a:xfrm>
          <a:solidFill>
            <a:srgbClr val="B00402"/>
          </a:solidFill>
        </p:spPr>
        <p:txBody>
          <a:bodyPr lIns="108000" tIns="180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0"/>
            <a:endParaRPr lang="hu-HU" dirty="0"/>
          </a:p>
        </p:txBody>
      </p:sp>
      <p:sp>
        <p:nvSpPr>
          <p:cNvPr id="41" name="Szöveg helye 3">
            <a:extLst>
              <a:ext uri="{FF2B5EF4-FFF2-40B4-BE49-F238E27FC236}">
                <a16:creationId xmlns:a16="http://schemas.microsoft.com/office/drawing/2014/main" id="{96046043-7941-4667-9C2E-1B1452FA49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28931" y="3282432"/>
            <a:ext cx="2026800" cy="1570038"/>
          </a:xfrm>
          <a:solidFill>
            <a:srgbClr val="B00402">
              <a:alpha val="72000"/>
            </a:srgbClr>
          </a:solidFill>
        </p:spPr>
        <p:txBody>
          <a:bodyPr lIns="108000" tIns="180000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4</a:t>
            </a:r>
          </a:p>
          <a:p>
            <a:pPr lvl="0"/>
            <a:endParaRPr lang="hu-HU" dirty="0"/>
          </a:p>
        </p:txBody>
      </p:sp>
      <p:sp>
        <p:nvSpPr>
          <p:cNvPr id="38" name="Fußzeilenplatzhalter 6">
            <a:extLst>
              <a:ext uri="{FF2B5EF4-FFF2-40B4-BE49-F238E27FC236}">
                <a16:creationId xmlns:a16="http://schemas.microsoft.com/office/drawing/2014/main" id="{FE45D106-AA19-4624-95D7-8D5B5932CFE5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7" name="Szöveg helye 2">
            <a:extLst>
              <a:ext uri="{FF2B5EF4-FFF2-40B4-BE49-F238E27FC236}">
                <a16:creationId xmlns:a16="http://schemas.microsoft.com/office/drawing/2014/main" id="{E81F5A83-A324-433C-BC35-D12911005D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6304" y="2537861"/>
            <a:ext cx="5134346" cy="600841"/>
          </a:xfrm>
          <a:noFill/>
        </p:spPr>
        <p:txBody>
          <a:bodyPr lIns="0" tIns="0" anchor="ctr"/>
          <a:lstStyle>
            <a:lvl1pPr algn="ctr"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endParaRPr lang="hu-HU" dirty="0"/>
          </a:p>
        </p:txBody>
      </p:sp>
      <p:sp>
        <p:nvSpPr>
          <p:cNvPr id="22" name="Szöveg helye 3">
            <a:extLst>
              <a:ext uri="{FF2B5EF4-FFF2-40B4-BE49-F238E27FC236}">
                <a16:creationId xmlns:a16="http://schemas.microsoft.com/office/drawing/2014/main" id="{2BFD47DA-7EE5-4B86-A12C-0F081F132D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063" y="3282432"/>
            <a:ext cx="2026800" cy="1570038"/>
          </a:xfrm>
          <a:solidFill>
            <a:srgbClr val="B00402">
              <a:alpha val="55000"/>
            </a:srgbClr>
          </a:solidFill>
        </p:spPr>
        <p:txBody>
          <a:bodyPr lIns="108000" t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/>
              <a:t>Faktor 1</a:t>
            </a:r>
          </a:p>
          <a:p>
            <a:pPr lvl="0"/>
            <a:endParaRPr lang="hu-HU" dirty="0"/>
          </a:p>
        </p:txBody>
      </p:sp>
      <p:sp>
        <p:nvSpPr>
          <p:cNvPr id="28" name="Háromszög 27">
            <a:extLst>
              <a:ext uri="{FF2B5EF4-FFF2-40B4-BE49-F238E27FC236}">
                <a16:creationId xmlns:a16="http://schemas.microsoft.com/office/drawing/2014/main" id="{54B5753F-8454-433C-8632-5FF3A5928AC6}"/>
              </a:ext>
            </a:extLst>
          </p:cNvPr>
          <p:cNvSpPr/>
          <p:nvPr userDrawn="1"/>
        </p:nvSpPr>
        <p:spPr>
          <a:xfrm>
            <a:off x="3286772" y="2341088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9" name="Háromszög 28">
            <a:extLst>
              <a:ext uri="{FF2B5EF4-FFF2-40B4-BE49-F238E27FC236}">
                <a16:creationId xmlns:a16="http://schemas.microsoft.com/office/drawing/2014/main" id="{AC826E51-01CA-4243-BE29-1180AC9210E5}"/>
              </a:ext>
            </a:extLst>
          </p:cNvPr>
          <p:cNvSpPr/>
          <p:nvPr userDrawn="1"/>
        </p:nvSpPr>
        <p:spPr>
          <a:xfrm>
            <a:off x="5311813" y="2330994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3" name="Háromszög 32">
            <a:extLst>
              <a:ext uri="{FF2B5EF4-FFF2-40B4-BE49-F238E27FC236}">
                <a16:creationId xmlns:a16="http://schemas.microsoft.com/office/drawing/2014/main" id="{B4D4E397-3D5F-487D-9EA5-59B0A163939E}"/>
              </a:ext>
            </a:extLst>
          </p:cNvPr>
          <p:cNvSpPr/>
          <p:nvPr userDrawn="1"/>
        </p:nvSpPr>
        <p:spPr>
          <a:xfrm>
            <a:off x="7339463" y="2338175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4" name="Háromszög 33">
            <a:extLst>
              <a:ext uri="{FF2B5EF4-FFF2-40B4-BE49-F238E27FC236}">
                <a16:creationId xmlns:a16="http://schemas.microsoft.com/office/drawing/2014/main" id="{DC42653C-53DB-467F-8F0A-7EF7A4888231}"/>
              </a:ext>
            </a:extLst>
          </p:cNvPr>
          <p:cNvSpPr/>
          <p:nvPr userDrawn="1"/>
        </p:nvSpPr>
        <p:spPr>
          <a:xfrm rot="10800000">
            <a:off x="1261731" y="3287318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9" name="Háromszög 38">
            <a:extLst>
              <a:ext uri="{FF2B5EF4-FFF2-40B4-BE49-F238E27FC236}">
                <a16:creationId xmlns:a16="http://schemas.microsoft.com/office/drawing/2014/main" id="{FB1943A7-4DDF-4584-9BB9-A9E0A78E5E74}"/>
              </a:ext>
            </a:extLst>
          </p:cNvPr>
          <p:cNvSpPr/>
          <p:nvPr userDrawn="1"/>
        </p:nvSpPr>
        <p:spPr>
          <a:xfrm rot="10800000">
            <a:off x="3287886" y="3277546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5" name="Háromszög 44">
            <a:extLst>
              <a:ext uri="{FF2B5EF4-FFF2-40B4-BE49-F238E27FC236}">
                <a16:creationId xmlns:a16="http://schemas.microsoft.com/office/drawing/2014/main" id="{AEEA362E-0BC1-469A-AE3C-48D8D4A91E49}"/>
              </a:ext>
            </a:extLst>
          </p:cNvPr>
          <p:cNvSpPr/>
          <p:nvPr userDrawn="1"/>
        </p:nvSpPr>
        <p:spPr>
          <a:xfrm rot="10800000">
            <a:off x="5318644" y="3282432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6" name="Háromszög 45">
            <a:extLst>
              <a:ext uri="{FF2B5EF4-FFF2-40B4-BE49-F238E27FC236}">
                <a16:creationId xmlns:a16="http://schemas.microsoft.com/office/drawing/2014/main" id="{E263CFC3-E1E2-45ED-B5C7-CA1BB38DF202}"/>
              </a:ext>
            </a:extLst>
          </p:cNvPr>
          <p:cNvSpPr/>
          <p:nvPr userDrawn="1"/>
        </p:nvSpPr>
        <p:spPr>
          <a:xfrm rot="10800000">
            <a:off x="7342776" y="3287318"/>
            <a:ext cx="254000" cy="12192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4" name="Szöveg helye 13">
            <a:extLst>
              <a:ext uri="{FF2B5EF4-FFF2-40B4-BE49-F238E27FC236}">
                <a16:creationId xmlns:a16="http://schemas.microsoft.com/office/drawing/2014/main" id="{5BF91DE8-91FB-4F6F-8414-32AA678BEC8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7999" y="1302267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26" name="Szöveg helye 13">
            <a:extLst>
              <a:ext uri="{FF2B5EF4-FFF2-40B4-BE49-F238E27FC236}">
                <a16:creationId xmlns:a16="http://schemas.microsoft.com/office/drawing/2014/main" id="{5348EC4B-8436-4484-808A-AB70C5A924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04799" y="1296910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36" name="Szöveg helye 13">
            <a:extLst>
              <a:ext uri="{FF2B5EF4-FFF2-40B4-BE49-F238E27FC236}">
                <a16:creationId xmlns:a16="http://schemas.microsoft.com/office/drawing/2014/main" id="{E7F781CD-1AB9-4EF9-A9DC-0A45B205C3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4751" y="1302267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42" name="Szöveg helye 13">
            <a:extLst>
              <a:ext uri="{FF2B5EF4-FFF2-40B4-BE49-F238E27FC236}">
                <a16:creationId xmlns:a16="http://schemas.microsoft.com/office/drawing/2014/main" id="{9586C559-7A4F-4482-A71E-CFAFBF95EF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9792" y="1296909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49" name="Szöveg helye 13">
            <a:extLst>
              <a:ext uri="{FF2B5EF4-FFF2-40B4-BE49-F238E27FC236}">
                <a16:creationId xmlns:a16="http://schemas.microsoft.com/office/drawing/2014/main" id="{2716A316-6BD6-4C0D-9601-F9DDE3539D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5331" y="3741862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50" name="Szöveg helye 13">
            <a:extLst>
              <a:ext uri="{FF2B5EF4-FFF2-40B4-BE49-F238E27FC236}">
                <a16:creationId xmlns:a16="http://schemas.microsoft.com/office/drawing/2014/main" id="{2CC8936A-4573-4102-AB00-4A943CAD7E0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02131" y="3736505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51" name="Szöveg helye 13">
            <a:extLst>
              <a:ext uri="{FF2B5EF4-FFF2-40B4-BE49-F238E27FC236}">
                <a16:creationId xmlns:a16="http://schemas.microsoft.com/office/drawing/2014/main" id="{02871B70-562E-41AA-A9EA-9ED7E3146AB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32083" y="3741862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52" name="Szöveg helye 13">
            <a:extLst>
              <a:ext uri="{FF2B5EF4-FFF2-40B4-BE49-F238E27FC236}">
                <a16:creationId xmlns:a16="http://schemas.microsoft.com/office/drawing/2014/main" id="{58A55B05-A2F7-4529-9EDF-B7647E3D50E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57124" y="3736504"/>
            <a:ext cx="1908280" cy="976297"/>
          </a:xfrm>
        </p:spPr>
        <p:txBody>
          <a:bodyPr lIns="108000" tIns="108000" b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</p:txBody>
      </p:sp>
      <p:sp>
        <p:nvSpPr>
          <p:cNvPr id="54" name="Cím 1">
            <a:extLst>
              <a:ext uri="{FF2B5EF4-FFF2-40B4-BE49-F238E27FC236}">
                <a16:creationId xmlns:a16="http://schemas.microsoft.com/office/drawing/2014/main" id="{36CFEA2E-AFC9-4C98-8891-9AA3BDD55A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8 </a:t>
            </a:r>
            <a:r>
              <a:rPr lang="hu-HU" dirty="0" err="1"/>
              <a:t>Elements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6038562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graphics 11/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zis 2">
            <a:extLst>
              <a:ext uri="{FF2B5EF4-FFF2-40B4-BE49-F238E27FC236}">
                <a16:creationId xmlns:a16="http://schemas.microsoft.com/office/drawing/2014/main" id="{965440B0-0FC5-420B-86F9-74B9DC311889}"/>
              </a:ext>
            </a:extLst>
          </p:cNvPr>
          <p:cNvSpPr/>
          <p:nvPr userDrawn="1"/>
        </p:nvSpPr>
        <p:spPr>
          <a:xfrm>
            <a:off x="2214612" y="2139576"/>
            <a:ext cx="1834776" cy="1795891"/>
          </a:xfrm>
          <a:prstGeom prst="ellips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10F18137-301B-44A4-94CC-2544618A8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727988" y="1427176"/>
            <a:ext cx="808024" cy="808024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1A8141B6-1406-419C-9E60-127D5EA10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0029">
            <a:off x="1607399" y="2036826"/>
            <a:ext cx="808024" cy="808024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FC12DC04-2737-4235-9C59-C169D7CA6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56594">
            <a:off x="3753986" y="1972715"/>
            <a:ext cx="808024" cy="808024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5255DB66-D316-45B7-A680-A0B234E6B7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58923">
            <a:off x="3694452" y="3416787"/>
            <a:ext cx="808024" cy="808024"/>
          </a:xfrm>
          <a:prstGeom prst="rect">
            <a:avLst/>
          </a:prstGeom>
        </p:spPr>
      </p:pic>
      <p:sp>
        <p:nvSpPr>
          <p:cNvPr id="13" name="Szöveg helye 26">
            <a:extLst>
              <a:ext uri="{FF2B5EF4-FFF2-40B4-BE49-F238E27FC236}">
                <a16:creationId xmlns:a16="http://schemas.microsoft.com/office/drawing/2014/main" id="{60A0DD8C-5E8C-46E4-B261-E6CEE1E9A4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1192" y="2876785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9FA201DA-7128-4859-9132-392B1E8E4A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7169" y="1971620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C5ACE680-75FB-413E-9316-C0032E6F7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5329" y="1291814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E9229F30-DFD2-4599-9289-F24663D819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7169" y="3999800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BA138D92-F0F7-46CD-9D94-993D45378C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343" y="1941001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30047AB9-329A-499D-B57B-E0642C9755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8000" y="3911318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pic>
        <p:nvPicPr>
          <p:cNvPr id="19" name="Kép 18">
            <a:extLst>
              <a:ext uri="{FF2B5EF4-FFF2-40B4-BE49-F238E27FC236}">
                <a16:creationId xmlns:a16="http://schemas.microsoft.com/office/drawing/2014/main" id="{BB086E2C-362C-492B-95AE-776AABCBAB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44937">
            <a:off x="1745758" y="3401021"/>
            <a:ext cx="808024" cy="808024"/>
          </a:xfrm>
          <a:prstGeom prst="rect">
            <a:avLst/>
          </a:prstGeom>
        </p:spPr>
      </p:pic>
      <p:sp>
        <p:nvSpPr>
          <p:cNvPr id="26" name="Fußzeilenplatzhalter 6">
            <a:extLst>
              <a:ext uri="{FF2B5EF4-FFF2-40B4-BE49-F238E27FC236}">
                <a16:creationId xmlns:a16="http://schemas.microsoft.com/office/drawing/2014/main" id="{BD29BF0C-17AB-4B0F-8038-4639D3B5BB51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0" name="Cím 1">
            <a:extLst>
              <a:ext uri="{FF2B5EF4-FFF2-40B4-BE49-F238E27FC236}">
                <a16:creationId xmlns:a16="http://schemas.microsoft.com/office/drawing/2014/main" id="{B5EB84DF-8DC4-49ED-941A-B6C33990CB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5 </a:t>
            </a:r>
            <a:r>
              <a:rPr lang="hu-HU" dirty="0" err="1"/>
              <a:t>Elements</a:t>
            </a:r>
            <a:endParaRPr lang="hu-HU" dirty="0"/>
          </a:p>
        </p:txBody>
      </p:sp>
      <p:sp>
        <p:nvSpPr>
          <p:cNvPr id="21" name="Dátum helye 2">
            <a:extLst>
              <a:ext uri="{FF2B5EF4-FFF2-40B4-BE49-F238E27FC236}">
                <a16:creationId xmlns:a16="http://schemas.microsoft.com/office/drawing/2014/main" id="{AC0FCDCD-54B0-43B3-9353-6BAEFA3B23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D4761D5-D9EA-4459-B29F-1D95899BB013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2" name="Dia számának helye 4">
            <a:extLst>
              <a:ext uri="{FF2B5EF4-FFF2-40B4-BE49-F238E27FC236}">
                <a16:creationId xmlns:a16="http://schemas.microsoft.com/office/drawing/2014/main" id="{15B6AF9A-2810-405E-A31F-150FC6437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116484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Elem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zis 23">
            <a:extLst>
              <a:ext uri="{FF2B5EF4-FFF2-40B4-BE49-F238E27FC236}">
                <a16:creationId xmlns:a16="http://schemas.microsoft.com/office/drawing/2014/main" id="{52237DAB-85CA-42A9-B091-242EAE556217}"/>
              </a:ext>
            </a:extLst>
          </p:cNvPr>
          <p:cNvSpPr/>
          <p:nvPr userDrawn="1"/>
        </p:nvSpPr>
        <p:spPr>
          <a:xfrm>
            <a:off x="2214612" y="2139576"/>
            <a:ext cx="1834776" cy="1795891"/>
          </a:xfrm>
          <a:prstGeom prst="ellips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10F18137-301B-44A4-94CC-2544618A8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727988" y="1427176"/>
            <a:ext cx="808024" cy="808024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1A8141B6-1406-419C-9E60-127D5EA10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0029">
            <a:off x="1810599" y="1788579"/>
            <a:ext cx="808024" cy="808024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FC12DC04-2737-4235-9C59-C169D7CA6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56594">
            <a:off x="3638965" y="1786507"/>
            <a:ext cx="808024" cy="808024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5255DB66-D316-45B7-A680-A0B234E6B7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58923">
            <a:off x="3694208" y="3443302"/>
            <a:ext cx="808024" cy="808024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3138F862-0EA6-44EB-88D0-1144662A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834764">
            <a:off x="1784524" y="3437476"/>
            <a:ext cx="808024" cy="808024"/>
          </a:xfrm>
          <a:prstGeom prst="rect">
            <a:avLst/>
          </a:prstGeom>
        </p:spPr>
      </p:pic>
      <p:sp>
        <p:nvSpPr>
          <p:cNvPr id="13" name="Szöveg helye 26">
            <a:extLst>
              <a:ext uri="{FF2B5EF4-FFF2-40B4-BE49-F238E27FC236}">
                <a16:creationId xmlns:a16="http://schemas.microsoft.com/office/drawing/2014/main" id="{60A0DD8C-5E8C-46E4-B261-E6CEE1E9A4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6856" y="2876471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9FA201DA-7128-4859-9132-392B1E8E4A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6156" y="1881587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C5ACE680-75FB-413E-9316-C0032E6F7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4849" y="1291814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E9229F30-DFD2-4599-9289-F24663D819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6156" y="3999800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BA138D92-F0F7-46CD-9D94-993D45378C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2140" y="1810399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30047AB9-329A-499D-B57B-E0642C9755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0841" y="3962351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97F57FE4-3198-4243-9C75-27F6A63E74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21957" y="2794101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pic>
        <p:nvPicPr>
          <p:cNvPr id="21" name="Kép 20">
            <a:extLst>
              <a:ext uri="{FF2B5EF4-FFF2-40B4-BE49-F238E27FC236}">
                <a16:creationId xmlns:a16="http://schemas.microsoft.com/office/drawing/2014/main" id="{D906838A-4546-4A26-BAF9-E5CA2712D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908399" y="2608484"/>
            <a:ext cx="808024" cy="808024"/>
          </a:xfrm>
          <a:prstGeom prst="rect">
            <a:avLst/>
          </a:prstGeom>
        </p:spPr>
      </p:pic>
      <p:pic>
        <p:nvPicPr>
          <p:cNvPr id="22" name="Kép 21">
            <a:extLst>
              <a:ext uri="{FF2B5EF4-FFF2-40B4-BE49-F238E27FC236}">
                <a16:creationId xmlns:a16="http://schemas.microsoft.com/office/drawing/2014/main" id="{7750CCC3-5EAE-42C2-AC65-8CD6FBBA84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869" y="2616355"/>
            <a:ext cx="808024" cy="808024"/>
          </a:xfrm>
          <a:prstGeom prst="rect">
            <a:avLst/>
          </a:prstGeom>
        </p:spPr>
      </p:pic>
      <p:sp>
        <p:nvSpPr>
          <p:cNvPr id="23" name="Szöveg helye 26">
            <a:extLst>
              <a:ext uri="{FF2B5EF4-FFF2-40B4-BE49-F238E27FC236}">
                <a16:creationId xmlns:a16="http://schemas.microsoft.com/office/drawing/2014/main" id="{B2308562-FAF4-4B45-A1EC-E2899721EB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3976" y="2788671"/>
            <a:ext cx="1434300" cy="258762"/>
          </a:xfrm>
        </p:spPr>
        <p:txBody>
          <a:bodyPr anchor="ctr"/>
          <a:lstStyle>
            <a:lvl1pPr algn="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9A672B41-CBCE-4F19-BABA-3953083358F6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7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74293AD5-8130-4810-943C-411376B2059E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5" name="Dátum helye 2">
            <a:extLst>
              <a:ext uri="{FF2B5EF4-FFF2-40B4-BE49-F238E27FC236}">
                <a16:creationId xmlns:a16="http://schemas.microsoft.com/office/drawing/2014/main" id="{3BAB9157-7834-4193-986B-ADE32ED70A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5B8BCE3-8101-495A-A76C-CE2F79CD52F4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6" name="Dia számának helye 4">
            <a:extLst>
              <a:ext uri="{FF2B5EF4-FFF2-40B4-BE49-F238E27FC236}">
                <a16:creationId xmlns:a16="http://schemas.microsoft.com/office/drawing/2014/main" id="{02259AC0-2351-4BE0-9F62-1B00FCE85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663233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ular flow 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09AFBAE-5FB1-4BA1-80E7-CB4AB6DBF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Circular</a:t>
            </a:r>
            <a:r>
              <a:rPr lang="hu-HU" dirty="0"/>
              <a:t> flow 1/6</a:t>
            </a:r>
            <a:br>
              <a:rPr lang="hu-HU" dirty="0"/>
            </a:br>
            <a:endParaRPr lang="hu-HU" dirty="0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DB9B821D-B72E-4E07-995E-B1A15EF1C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E7C28CEE-D922-4FA7-88E5-DAD4CB35A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Bild 3">
            <a:extLst>
              <a:ext uri="{FF2B5EF4-FFF2-40B4-BE49-F238E27FC236}">
                <a16:creationId xmlns:a16="http://schemas.microsoft.com/office/drawing/2014/main" id="{FF767139-9869-466F-B5C1-A3F4FFB049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8000" y="1358900"/>
            <a:ext cx="3447100" cy="3447100"/>
          </a:xfrm>
          <a:prstGeom prst="rect">
            <a:avLst/>
          </a:prstGeom>
        </p:spPr>
      </p:pic>
      <p:pic>
        <p:nvPicPr>
          <p:cNvPr id="7" name="Bild 4">
            <a:extLst>
              <a:ext uri="{FF2B5EF4-FFF2-40B4-BE49-F238E27FC236}">
                <a16:creationId xmlns:a16="http://schemas.microsoft.com/office/drawing/2014/main" id="{72BE519D-E97D-4691-994B-30190F1231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70377" y="1358900"/>
            <a:ext cx="1638300" cy="1638300"/>
          </a:xfrm>
          <a:prstGeom prst="rect">
            <a:avLst/>
          </a:prstGeom>
        </p:spPr>
      </p:pic>
      <p:pic>
        <p:nvPicPr>
          <p:cNvPr id="8" name="Bild 7">
            <a:extLst>
              <a:ext uri="{FF2B5EF4-FFF2-40B4-BE49-F238E27FC236}">
                <a16:creationId xmlns:a16="http://schemas.microsoft.com/office/drawing/2014/main" id="{9D63D542-55FA-4D1A-8B92-D260BB1AA91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41400" y="1358900"/>
            <a:ext cx="1651000" cy="1638300"/>
          </a:xfrm>
          <a:prstGeom prst="rect">
            <a:avLst/>
          </a:prstGeom>
        </p:spPr>
      </p:pic>
      <p:pic>
        <p:nvPicPr>
          <p:cNvPr id="9" name="Bild 28">
            <a:extLst>
              <a:ext uri="{FF2B5EF4-FFF2-40B4-BE49-F238E27FC236}">
                <a16:creationId xmlns:a16="http://schemas.microsoft.com/office/drawing/2014/main" id="{33258182-5220-4035-BC6E-D5C8953D70C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41400" y="3167700"/>
            <a:ext cx="1638300" cy="1638300"/>
          </a:xfrm>
          <a:prstGeom prst="rect">
            <a:avLst/>
          </a:prstGeom>
        </p:spPr>
      </p:pic>
      <p:pic>
        <p:nvPicPr>
          <p:cNvPr id="10" name="Bild 32">
            <a:extLst>
              <a:ext uri="{FF2B5EF4-FFF2-40B4-BE49-F238E27FC236}">
                <a16:creationId xmlns:a16="http://schemas.microsoft.com/office/drawing/2014/main" id="{5C02C31A-580F-4461-A8A9-8BA24C8A12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70377" y="3167700"/>
            <a:ext cx="1638300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437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493D881-B2D1-4E68-B6D3-50D7F68D3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Next</a:t>
            </a:r>
            <a:r>
              <a:rPr lang="hu-HU" dirty="0"/>
              <a:t> </a:t>
            </a:r>
            <a:r>
              <a:rPr lang="hu-HU" dirty="0" err="1"/>
              <a:t>step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6FAB51AC-E39E-4DDF-9427-84F502C16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DADFB-6FAB-4359-ADF6-95891F2E9732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E1B4515A-4417-48EE-9599-DE05F5B95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147530FF-0F9E-42CE-8A95-0AFDACDCC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26">
            <a:extLst>
              <a:ext uri="{FF2B5EF4-FFF2-40B4-BE49-F238E27FC236}">
                <a16:creationId xmlns:a16="http://schemas.microsoft.com/office/drawing/2014/main" id="{797B09C5-55CA-45BC-A1EB-6277A22BF6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510" y="1495306"/>
            <a:ext cx="1644869" cy="1135006"/>
          </a:xfrm>
        </p:spPr>
        <p:txBody>
          <a:bodyPr lIns="72000" tIns="72000" bIns="72000" anchor="ctr"/>
          <a:lstStyle>
            <a:lvl1pPr algn="l">
              <a:defRPr sz="639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1</a:t>
            </a:r>
          </a:p>
        </p:txBody>
      </p:sp>
      <p:sp>
        <p:nvSpPr>
          <p:cNvPr id="7" name="Szöveg helye 26">
            <a:extLst>
              <a:ext uri="{FF2B5EF4-FFF2-40B4-BE49-F238E27FC236}">
                <a16:creationId xmlns:a16="http://schemas.microsoft.com/office/drawing/2014/main" id="{3C8FA9B4-3EB2-45D9-8190-1B3DA75F92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37517" y="1495306"/>
            <a:ext cx="1644869" cy="1135006"/>
          </a:xfrm>
        </p:spPr>
        <p:txBody>
          <a:bodyPr lIns="72000" tIns="72000" bIns="72000" anchor="ctr"/>
          <a:lstStyle>
            <a:lvl1pPr algn="l">
              <a:defRPr sz="639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2</a:t>
            </a:r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7E430FC3-5347-4F7E-8665-D81F40281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92524" y="1495306"/>
            <a:ext cx="1644869" cy="1135006"/>
          </a:xfrm>
        </p:spPr>
        <p:txBody>
          <a:bodyPr lIns="72000" tIns="72000" bIns="72000" anchor="ctr"/>
          <a:lstStyle>
            <a:lvl1pPr algn="l">
              <a:defRPr sz="639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3</a:t>
            </a:r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450B5164-D604-4ED4-B77C-70FC9A2578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47531" y="1495306"/>
            <a:ext cx="1644869" cy="1135006"/>
          </a:xfrm>
        </p:spPr>
        <p:txBody>
          <a:bodyPr lIns="72000" tIns="72000" bIns="72000" anchor="ctr"/>
          <a:lstStyle>
            <a:lvl1pPr algn="l">
              <a:defRPr sz="639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4</a:t>
            </a:r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12CC5A2A-7456-4503-9CDE-267DD610A2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2538" y="1495306"/>
            <a:ext cx="1644869" cy="1135006"/>
          </a:xfrm>
        </p:spPr>
        <p:txBody>
          <a:bodyPr lIns="72000" tIns="72000" bIns="72000" anchor="ctr"/>
          <a:lstStyle>
            <a:lvl1pPr algn="l">
              <a:defRPr sz="639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5</a:t>
            </a:r>
          </a:p>
        </p:txBody>
      </p: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EAA4D006-298A-4F2E-9585-5DE34A51489E}"/>
              </a:ext>
            </a:extLst>
          </p:cNvPr>
          <p:cNvCxnSpPr>
            <a:cxnSpLocks/>
          </p:cNvCxnSpPr>
          <p:nvPr userDrawn="1"/>
        </p:nvCxnSpPr>
        <p:spPr>
          <a:xfrm>
            <a:off x="1171299" y="1855167"/>
            <a:ext cx="612000" cy="0"/>
          </a:xfrm>
          <a:prstGeom prst="line">
            <a:avLst/>
          </a:prstGeom>
          <a:ln w="63500"/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5D03356E-F373-4936-AD56-50AE639ED136}"/>
              </a:ext>
            </a:extLst>
          </p:cNvPr>
          <p:cNvCxnSpPr>
            <a:cxnSpLocks/>
          </p:cNvCxnSpPr>
          <p:nvPr userDrawn="1"/>
        </p:nvCxnSpPr>
        <p:spPr>
          <a:xfrm>
            <a:off x="2863465" y="1855167"/>
            <a:ext cx="612000" cy="0"/>
          </a:xfrm>
          <a:prstGeom prst="line">
            <a:avLst/>
          </a:prstGeom>
          <a:ln w="63500"/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>
            <a:extLst>
              <a:ext uri="{FF2B5EF4-FFF2-40B4-BE49-F238E27FC236}">
                <a16:creationId xmlns:a16="http://schemas.microsoft.com/office/drawing/2014/main" id="{73AC828E-49F9-422F-8348-5D93E51B1061}"/>
              </a:ext>
            </a:extLst>
          </p:cNvPr>
          <p:cNvCxnSpPr>
            <a:cxnSpLocks/>
          </p:cNvCxnSpPr>
          <p:nvPr userDrawn="1"/>
        </p:nvCxnSpPr>
        <p:spPr>
          <a:xfrm>
            <a:off x="4518845" y="1855167"/>
            <a:ext cx="612000" cy="0"/>
          </a:xfrm>
          <a:prstGeom prst="line">
            <a:avLst/>
          </a:prstGeom>
          <a:ln w="63500"/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8321B01D-3917-402A-BE3F-59E4C43C21CD}"/>
              </a:ext>
            </a:extLst>
          </p:cNvPr>
          <p:cNvCxnSpPr>
            <a:cxnSpLocks/>
          </p:cNvCxnSpPr>
          <p:nvPr userDrawn="1"/>
        </p:nvCxnSpPr>
        <p:spPr>
          <a:xfrm>
            <a:off x="6179312" y="1860423"/>
            <a:ext cx="612000" cy="0"/>
          </a:xfrm>
          <a:prstGeom prst="line">
            <a:avLst/>
          </a:prstGeom>
          <a:ln w="63500"/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FB1FDF6-FDE4-4E29-B1B3-0C8B82239A69}"/>
              </a:ext>
            </a:extLst>
          </p:cNvPr>
          <p:cNvSpPr>
            <a:spLocks noGrp="1"/>
          </p:cNvSpPr>
          <p:nvPr>
            <p:ph sz="quarter" idx="2" hasCustomPrompt="1"/>
          </p:nvPr>
        </p:nvSpPr>
        <p:spPr>
          <a:xfrm>
            <a:off x="382510" y="2630312"/>
            <a:ext cx="1650497" cy="1933904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/>
              <a:t>Copy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endParaRPr lang="de-DE" dirty="0"/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5069692-45E2-4A78-A5F9-177C5910682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033007" y="2630312"/>
            <a:ext cx="1650497" cy="1933904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/>
              <a:t>Copy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endParaRPr lang="de-DE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B7E94C30-4AC0-49DD-B313-BC92221642B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97034" y="2630312"/>
            <a:ext cx="1650497" cy="1933904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/>
              <a:t>Copy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endParaRPr lang="de-DE" dirty="0"/>
          </a:p>
        </p:txBody>
      </p:sp>
      <p:sp>
        <p:nvSpPr>
          <p:cNvPr id="20" name="Inhaltsplatzhalter 3">
            <a:extLst>
              <a:ext uri="{FF2B5EF4-FFF2-40B4-BE49-F238E27FC236}">
                <a16:creationId xmlns:a16="http://schemas.microsoft.com/office/drawing/2014/main" id="{2261175E-065F-4B3A-B231-8B5D815C909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352041" y="2625056"/>
            <a:ext cx="1650497" cy="1933904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/>
              <a:t>Copy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endParaRPr lang="de-DE" dirty="0"/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0867ABBD-684F-4894-8D18-82A561D44A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002538" y="2630312"/>
            <a:ext cx="1650497" cy="1933904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/>
              <a:t>Copy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endParaRPr lang="de-DE" dirty="0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89442E98-07B9-44AC-B0D4-3037A1BCE42B}"/>
              </a:ext>
            </a:extLst>
          </p:cNvPr>
          <p:cNvSpPr>
            <a:spLocks/>
          </p:cNvSpPr>
          <p:nvPr userDrawn="1"/>
        </p:nvSpPr>
        <p:spPr bwMode="auto">
          <a:xfrm>
            <a:off x="7898791" y="1658036"/>
            <a:ext cx="422369" cy="404773"/>
          </a:xfrm>
          <a:custGeom>
            <a:avLst/>
            <a:gdLst>
              <a:gd name="T0" fmla="*/ 103 w 183"/>
              <a:gd name="T1" fmla="*/ 172 h 176"/>
              <a:gd name="T2" fmla="*/ 86 w 183"/>
              <a:gd name="T3" fmla="*/ 169 h 176"/>
              <a:gd name="T4" fmla="*/ 89 w 183"/>
              <a:gd name="T5" fmla="*/ 153 h 176"/>
              <a:gd name="T6" fmla="*/ 89 w 183"/>
              <a:gd name="T7" fmla="*/ 153 h 176"/>
              <a:gd name="T8" fmla="*/ 148 w 183"/>
              <a:gd name="T9" fmla="*/ 100 h 176"/>
              <a:gd name="T10" fmla="*/ 11 w 183"/>
              <a:gd name="T11" fmla="*/ 100 h 176"/>
              <a:gd name="T12" fmla="*/ 0 w 183"/>
              <a:gd name="T13" fmla="*/ 88 h 176"/>
              <a:gd name="T14" fmla="*/ 11 w 183"/>
              <a:gd name="T15" fmla="*/ 76 h 176"/>
              <a:gd name="T16" fmla="*/ 147 w 183"/>
              <a:gd name="T17" fmla="*/ 76 h 176"/>
              <a:gd name="T18" fmla="*/ 89 w 183"/>
              <a:gd name="T19" fmla="*/ 23 h 176"/>
              <a:gd name="T20" fmla="*/ 86 w 183"/>
              <a:gd name="T21" fmla="*/ 6 h 176"/>
              <a:gd name="T22" fmla="*/ 103 w 183"/>
              <a:gd name="T23" fmla="*/ 4 h 176"/>
              <a:gd name="T24" fmla="*/ 177 w 183"/>
              <a:gd name="T25" fmla="*/ 75 h 176"/>
              <a:gd name="T26" fmla="*/ 177 w 183"/>
              <a:gd name="T27" fmla="*/ 102 h 176"/>
              <a:gd name="T28" fmla="*/ 103 w 183"/>
              <a:gd name="T29" fmla="*/ 172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3" h="176">
                <a:moveTo>
                  <a:pt x="103" y="172"/>
                </a:moveTo>
                <a:cubicBezTo>
                  <a:pt x="97" y="176"/>
                  <a:pt x="90" y="175"/>
                  <a:pt x="86" y="169"/>
                </a:cubicBezTo>
                <a:cubicBezTo>
                  <a:pt x="82" y="164"/>
                  <a:pt x="84" y="157"/>
                  <a:pt x="89" y="153"/>
                </a:cubicBezTo>
                <a:cubicBezTo>
                  <a:pt x="89" y="153"/>
                  <a:pt x="89" y="153"/>
                  <a:pt x="89" y="153"/>
                </a:cubicBezTo>
                <a:cubicBezTo>
                  <a:pt x="110" y="138"/>
                  <a:pt x="130" y="120"/>
                  <a:pt x="148" y="100"/>
                </a:cubicBezTo>
                <a:cubicBezTo>
                  <a:pt x="11" y="100"/>
                  <a:pt x="11" y="100"/>
                  <a:pt x="11" y="100"/>
                </a:cubicBezTo>
                <a:cubicBezTo>
                  <a:pt x="5" y="100"/>
                  <a:pt x="0" y="94"/>
                  <a:pt x="0" y="88"/>
                </a:cubicBezTo>
                <a:cubicBezTo>
                  <a:pt x="0" y="81"/>
                  <a:pt x="5" y="76"/>
                  <a:pt x="11" y="76"/>
                </a:cubicBezTo>
                <a:cubicBezTo>
                  <a:pt x="147" y="76"/>
                  <a:pt x="147" y="76"/>
                  <a:pt x="147" y="76"/>
                </a:cubicBezTo>
                <a:cubicBezTo>
                  <a:pt x="129" y="56"/>
                  <a:pt x="109" y="38"/>
                  <a:pt x="89" y="23"/>
                </a:cubicBezTo>
                <a:cubicBezTo>
                  <a:pt x="84" y="19"/>
                  <a:pt x="82" y="12"/>
                  <a:pt x="86" y="6"/>
                </a:cubicBezTo>
                <a:cubicBezTo>
                  <a:pt x="90" y="1"/>
                  <a:pt x="97" y="0"/>
                  <a:pt x="103" y="4"/>
                </a:cubicBezTo>
                <a:cubicBezTo>
                  <a:pt x="129" y="23"/>
                  <a:pt x="154" y="47"/>
                  <a:pt x="177" y="75"/>
                </a:cubicBezTo>
                <a:cubicBezTo>
                  <a:pt x="183" y="82"/>
                  <a:pt x="183" y="94"/>
                  <a:pt x="177" y="102"/>
                </a:cubicBezTo>
                <a:cubicBezTo>
                  <a:pt x="155" y="129"/>
                  <a:pt x="130" y="152"/>
                  <a:pt x="103" y="17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355" tIns="45678" rIns="91355" bIns="45678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798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8001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sue diagram as tree - 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08CABA1-1A82-43B6-870B-9D82CF36E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Issue</a:t>
            </a:r>
            <a:r>
              <a:rPr lang="hu-HU" dirty="0"/>
              <a:t> diagram </a:t>
            </a:r>
            <a:r>
              <a:rPr lang="hu-HU" dirty="0" err="1"/>
              <a:t>as</a:t>
            </a:r>
            <a:r>
              <a:rPr lang="hu-HU" dirty="0"/>
              <a:t> </a:t>
            </a:r>
            <a:r>
              <a:rPr lang="hu-HU" dirty="0" err="1"/>
              <a:t>tree-structure</a:t>
            </a:r>
            <a:endParaRPr lang="hu-HU" dirty="0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F79B5023-2463-4488-8C0C-3A2936A26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2526BF0-F62A-4F48-8C11-3A8B254B6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6" name="Straight Connector 73">
            <a:extLst>
              <a:ext uri="{FF2B5EF4-FFF2-40B4-BE49-F238E27FC236}">
                <a16:creationId xmlns:a16="http://schemas.microsoft.com/office/drawing/2014/main" id="{B0D352E0-5A80-4CDD-B0FB-171CE7EBAD75}"/>
              </a:ext>
            </a:extLst>
          </p:cNvPr>
          <p:cNvCxnSpPr/>
          <p:nvPr userDrawn="1"/>
        </p:nvCxnSpPr>
        <p:spPr>
          <a:xfrm rot="10800000" flipV="1">
            <a:off x="1491859" y="1838138"/>
            <a:ext cx="3081221" cy="8313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73">
            <a:extLst>
              <a:ext uri="{FF2B5EF4-FFF2-40B4-BE49-F238E27FC236}">
                <a16:creationId xmlns:a16="http://schemas.microsoft.com/office/drawing/2014/main" id="{CEC9538B-B01D-4974-AA29-8203C03A8B14}"/>
              </a:ext>
            </a:extLst>
          </p:cNvPr>
          <p:cNvCxnSpPr/>
          <p:nvPr userDrawn="1"/>
        </p:nvCxnSpPr>
        <p:spPr>
          <a:xfrm>
            <a:off x="4573080" y="1838139"/>
            <a:ext cx="3076484" cy="8313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3">
            <a:extLst>
              <a:ext uri="{FF2B5EF4-FFF2-40B4-BE49-F238E27FC236}">
                <a16:creationId xmlns:a16="http://schemas.microsoft.com/office/drawing/2014/main" id="{90CE42AB-2D72-4EC6-B8EB-F233287C348D}"/>
              </a:ext>
            </a:extLst>
          </p:cNvPr>
          <p:cNvCxnSpPr/>
          <p:nvPr userDrawn="1"/>
        </p:nvCxnSpPr>
        <p:spPr>
          <a:xfrm>
            <a:off x="4573080" y="1691682"/>
            <a:ext cx="0" cy="14645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3">
            <a:extLst>
              <a:ext uri="{FF2B5EF4-FFF2-40B4-BE49-F238E27FC236}">
                <a16:creationId xmlns:a16="http://schemas.microsoft.com/office/drawing/2014/main" id="{25F24025-CAC3-4ACF-968B-1ED59C11BB87}"/>
              </a:ext>
            </a:extLst>
          </p:cNvPr>
          <p:cNvCxnSpPr/>
          <p:nvPr userDrawn="1"/>
        </p:nvCxnSpPr>
        <p:spPr>
          <a:xfrm rot="5400000">
            <a:off x="810369" y="2294886"/>
            <a:ext cx="767521" cy="59545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73">
            <a:extLst>
              <a:ext uri="{FF2B5EF4-FFF2-40B4-BE49-F238E27FC236}">
                <a16:creationId xmlns:a16="http://schemas.microsoft.com/office/drawing/2014/main" id="{C533042A-7A3D-4622-8774-4052843D97BF}"/>
              </a:ext>
            </a:extLst>
          </p:cNvPr>
          <p:cNvCxnSpPr/>
          <p:nvPr userDrawn="1"/>
        </p:nvCxnSpPr>
        <p:spPr>
          <a:xfrm rot="16200000" flipH="1">
            <a:off x="1405827" y="2294886"/>
            <a:ext cx="767521" cy="59545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73">
            <a:extLst>
              <a:ext uri="{FF2B5EF4-FFF2-40B4-BE49-F238E27FC236}">
                <a16:creationId xmlns:a16="http://schemas.microsoft.com/office/drawing/2014/main" id="{2505EB8F-DCD9-4114-AB1A-EA5B13B39C87}"/>
              </a:ext>
            </a:extLst>
          </p:cNvPr>
          <p:cNvCxnSpPr/>
          <p:nvPr userDrawn="1"/>
        </p:nvCxnSpPr>
        <p:spPr>
          <a:xfrm rot="16200000" flipH="1">
            <a:off x="5020050" y="1761883"/>
            <a:ext cx="229857" cy="112379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3">
            <a:extLst>
              <a:ext uri="{FF2B5EF4-FFF2-40B4-BE49-F238E27FC236}">
                <a16:creationId xmlns:a16="http://schemas.microsoft.com/office/drawing/2014/main" id="{7AF1AC2D-B4C4-45BA-A550-0BA62EA7F9AC}"/>
              </a:ext>
            </a:extLst>
          </p:cNvPr>
          <p:cNvCxnSpPr/>
          <p:nvPr userDrawn="1"/>
        </p:nvCxnSpPr>
        <p:spPr>
          <a:xfrm rot="5400000">
            <a:off x="4177336" y="2042700"/>
            <a:ext cx="229588" cy="56189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73">
            <a:extLst>
              <a:ext uri="{FF2B5EF4-FFF2-40B4-BE49-F238E27FC236}">
                <a16:creationId xmlns:a16="http://schemas.microsoft.com/office/drawing/2014/main" id="{A968ED50-DEAC-4854-9687-EAA0D9836A42}"/>
              </a:ext>
            </a:extLst>
          </p:cNvPr>
          <p:cNvCxnSpPr/>
          <p:nvPr userDrawn="1"/>
        </p:nvCxnSpPr>
        <p:spPr>
          <a:xfrm rot="16200000" flipH="1">
            <a:off x="7563533" y="2294886"/>
            <a:ext cx="767521" cy="59545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73">
            <a:extLst>
              <a:ext uri="{FF2B5EF4-FFF2-40B4-BE49-F238E27FC236}">
                <a16:creationId xmlns:a16="http://schemas.microsoft.com/office/drawing/2014/main" id="{A0CF4465-945F-4C54-B077-A1287ED0EB4C}"/>
              </a:ext>
            </a:extLst>
          </p:cNvPr>
          <p:cNvCxnSpPr/>
          <p:nvPr userDrawn="1"/>
        </p:nvCxnSpPr>
        <p:spPr>
          <a:xfrm rot="5400000">
            <a:off x="6968075" y="2294886"/>
            <a:ext cx="767521" cy="59545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73">
            <a:extLst>
              <a:ext uri="{FF2B5EF4-FFF2-40B4-BE49-F238E27FC236}">
                <a16:creationId xmlns:a16="http://schemas.microsoft.com/office/drawing/2014/main" id="{8D3370F2-F9DD-4DF6-B08D-0E5461989845}"/>
              </a:ext>
            </a:extLst>
          </p:cNvPr>
          <p:cNvCxnSpPr/>
          <p:nvPr userDrawn="1"/>
        </p:nvCxnSpPr>
        <p:spPr>
          <a:xfrm>
            <a:off x="5696878" y="2752925"/>
            <a:ext cx="0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73">
            <a:extLst>
              <a:ext uri="{FF2B5EF4-FFF2-40B4-BE49-F238E27FC236}">
                <a16:creationId xmlns:a16="http://schemas.microsoft.com/office/drawing/2014/main" id="{1B26115C-25CF-4B1C-87F1-BA8132AEE24B}"/>
              </a:ext>
            </a:extLst>
          </p:cNvPr>
          <p:cNvCxnSpPr/>
          <p:nvPr userDrawn="1"/>
        </p:nvCxnSpPr>
        <p:spPr>
          <a:xfrm flipH="1">
            <a:off x="5696347" y="3290589"/>
            <a:ext cx="531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73">
            <a:extLst>
              <a:ext uri="{FF2B5EF4-FFF2-40B4-BE49-F238E27FC236}">
                <a16:creationId xmlns:a16="http://schemas.microsoft.com/office/drawing/2014/main" id="{592DCA94-BF28-4579-8FA7-C8D1DD328F16}"/>
              </a:ext>
            </a:extLst>
          </p:cNvPr>
          <p:cNvCxnSpPr/>
          <p:nvPr userDrawn="1"/>
        </p:nvCxnSpPr>
        <p:spPr>
          <a:xfrm>
            <a:off x="5696347" y="3841288"/>
            <a:ext cx="531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73">
            <a:extLst>
              <a:ext uri="{FF2B5EF4-FFF2-40B4-BE49-F238E27FC236}">
                <a16:creationId xmlns:a16="http://schemas.microsoft.com/office/drawing/2014/main" id="{9D75FA94-45C4-4348-B81E-848201277F5F}"/>
              </a:ext>
            </a:extLst>
          </p:cNvPr>
          <p:cNvCxnSpPr/>
          <p:nvPr userDrawn="1"/>
        </p:nvCxnSpPr>
        <p:spPr>
          <a:xfrm rot="5400000">
            <a:off x="3618370" y="2583566"/>
            <a:ext cx="223720" cy="5619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73">
            <a:extLst>
              <a:ext uri="{FF2B5EF4-FFF2-40B4-BE49-F238E27FC236}">
                <a16:creationId xmlns:a16="http://schemas.microsoft.com/office/drawing/2014/main" id="{BF804DCE-FF4C-43D8-B900-281E34ED9D1E}"/>
              </a:ext>
            </a:extLst>
          </p:cNvPr>
          <p:cNvCxnSpPr/>
          <p:nvPr userDrawn="1"/>
        </p:nvCxnSpPr>
        <p:spPr>
          <a:xfrm rot="16200000" flipH="1">
            <a:off x="4180003" y="2583832"/>
            <a:ext cx="223720" cy="56136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73">
            <a:extLst>
              <a:ext uri="{FF2B5EF4-FFF2-40B4-BE49-F238E27FC236}">
                <a16:creationId xmlns:a16="http://schemas.microsoft.com/office/drawing/2014/main" id="{77AE8B58-6DD8-4D0A-984E-EB9A2BCA8A4F}"/>
              </a:ext>
            </a:extLst>
          </p:cNvPr>
          <p:cNvCxnSpPr/>
          <p:nvPr userDrawn="1"/>
        </p:nvCxnSpPr>
        <p:spPr>
          <a:xfrm>
            <a:off x="4572547" y="3290589"/>
            <a:ext cx="532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73">
            <a:extLst>
              <a:ext uri="{FF2B5EF4-FFF2-40B4-BE49-F238E27FC236}">
                <a16:creationId xmlns:a16="http://schemas.microsoft.com/office/drawing/2014/main" id="{25B83F93-ECC9-4C9C-A3BC-681B31A2BB95}"/>
              </a:ext>
            </a:extLst>
          </p:cNvPr>
          <p:cNvCxnSpPr/>
          <p:nvPr userDrawn="1"/>
        </p:nvCxnSpPr>
        <p:spPr>
          <a:xfrm>
            <a:off x="3449280" y="3290589"/>
            <a:ext cx="532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73">
            <a:extLst>
              <a:ext uri="{FF2B5EF4-FFF2-40B4-BE49-F238E27FC236}">
                <a16:creationId xmlns:a16="http://schemas.microsoft.com/office/drawing/2014/main" id="{8F5DDE16-D2C9-4684-B9FC-1EDED0F6F200}"/>
              </a:ext>
            </a:extLst>
          </p:cNvPr>
          <p:cNvCxnSpPr/>
          <p:nvPr userDrawn="1"/>
        </p:nvCxnSpPr>
        <p:spPr>
          <a:xfrm flipH="1">
            <a:off x="3449280" y="3841288"/>
            <a:ext cx="532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73">
            <a:extLst>
              <a:ext uri="{FF2B5EF4-FFF2-40B4-BE49-F238E27FC236}">
                <a16:creationId xmlns:a16="http://schemas.microsoft.com/office/drawing/2014/main" id="{7EE4C0CB-0B10-42FE-B2AA-153B5C92BABC}"/>
              </a:ext>
            </a:extLst>
          </p:cNvPr>
          <p:cNvCxnSpPr/>
          <p:nvPr userDrawn="1"/>
        </p:nvCxnSpPr>
        <p:spPr>
          <a:xfrm>
            <a:off x="4573079" y="3841288"/>
            <a:ext cx="0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3">
            <a:extLst>
              <a:ext uri="{FF2B5EF4-FFF2-40B4-BE49-F238E27FC236}">
                <a16:creationId xmlns:a16="http://schemas.microsoft.com/office/drawing/2014/main" id="{5703FF85-B989-479E-93CF-4E24D4372E59}"/>
              </a:ext>
            </a:extLst>
          </p:cNvPr>
          <p:cNvCxnSpPr/>
          <p:nvPr userDrawn="1"/>
        </p:nvCxnSpPr>
        <p:spPr>
          <a:xfrm flipH="1">
            <a:off x="7054106" y="3841288"/>
            <a:ext cx="532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3">
            <a:extLst>
              <a:ext uri="{FF2B5EF4-FFF2-40B4-BE49-F238E27FC236}">
                <a16:creationId xmlns:a16="http://schemas.microsoft.com/office/drawing/2014/main" id="{E82D2D9A-00F2-4151-AFBD-2A161AE83F84}"/>
              </a:ext>
            </a:extLst>
          </p:cNvPr>
          <p:cNvCxnSpPr/>
          <p:nvPr userDrawn="1"/>
        </p:nvCxnSpPr>
        <p:spPr>
          <a:xfrm>
            <a:off x="8244490" y="3841288"/>
            <a:ext cx="532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73">
            <a:extLst>
              <a:ext uri="{FF2B5EF4-FFF2-40B4-BE49-F238E27FC236}">
                <a16:creationId xmlns:a16="http://schemas.microsoft.com/office/drawing/2014/main" id="{8651C52A-E39A-420E-8B72-17F62CF655A5}"/>
              </a:ext>
            </a:extLst>
          </p:cNvPr>
          <p:cNvCxnSpPr/>
          <p:nvPr userDrawn="1"/>
        </p:nvCxnSpPr>
        <p:spPr>
          <a:xfrm flipH="1">
            <a:off x="8244490" y="3290589"/>
            <a:ext cx="532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3">
            <a:extLst>
              <a:ext uri="{FF2B5EF4-FFF2-40B4-BE49-F238E27FC236}">
                <a16:creationId xmlns:a16="http://schemas.microsoft.com/office/drawing/2014/main" id="{63285EC7-4948-40C5-880E-99D20D2242D0}"/>
              </a:ext>
            </a:extLst>
          </p:cNvPr>
          <p:cNvCxnSpPr/>
          <p:nvPr userDrawn="1"/>
        </p:nvCxnSpPr>
        <p:spPr>
          <a:xfrm>
            <a:off x="7054106" y="3290589"/>
            <a:ext cx="532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3">
            <a:extLst>
              <a:ext uri="{FF2B5EF4-FFF2-40B4-BE49-F238E27FC236}">
                <a16:creationId xmlns:a16="http://schemas.microsoft.com/office/drawing/2014/main" id="{22B3692B-37AA-4B11-A403-D73840301AC7}"/>
              </a:ext>
            </a:extLst>
          </p:cNvPr>
          <p:cNvCxnSpPr/>
          <p:nvPr userDrawn="1"/>
        </p:nvCxnSpPr>
        <p:spPr>
          <a:xfrm flipH="1">
            <a:off x="2086785" y="3290589"/>
            <a:ext cx="531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3">
            <a:extLst>
              <a:ext uri="{FF2B5EF4-FFF2-40B4-BE49-F238E27FC236}">
                <a16:creationId xmlns:a16="http://schemas.microsoft.com/office/drawing/2014/main" id="{1AE6C73C-27DD-40C3-926F-0250C61B0EDE}"/>
              </a:ext>
            </a:extLst>
          </p:cNvPr>
          <p:cNvCxnSpPr/>
          <p:nvPr userDrawn="1"/>
        </p:nvCxnSpPr>
        <p:spPr>
          <a:xfrm>
            <a:off x="2086785" y="3841288"/>
            <a:ext cx="3824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73">
            <a:extLst>
              <a:ext uri="{FF2B5EF4-FFF2-40B4-BE49-F238E27FC236}">
                <a16:creationId xmlns:a16="http://schemas.microsoft.com/office/drawing/2014/main" id="{C37E2930-B4B7-4DB4-A458-A8565BEEECB6}"/>
              </a:ext>
            </a:extLst>
          </p:cNvPr>
          <p:cNvCxnSpPr/>
          <p:nvPr userDrawn="1"/>
        </p:nvCxnSpPr>
        <p:spPr>
          <a:xfrm flipH="1">
            <a:off x="896414" y="3841288"/>
            <a:ext cx="518" cy="2295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73">
            <a:extLst>
              <a:ext uri="{FF2B5EF4-FFF2-40B4-BE49-F238E27FC236}">
                <a16:creationId xmlns:a16="http://schemas.microsoft.com/office/drawing/2014/main" id="{FF7D3192-154A-4EC2-A7FD-83D2C1F53BF0}"/>
              </a:ext>
            </a:extLst>
          </p:cNvPr>
          <p:cNvCxnSpPr/>
          <p:nvPr userDrawn="1"/>
        </p:nvCxnSpPr>
        <p:spPr>
          <a:xfrm>
            <a:off x="896400" y="3290589"/>
            <a:ext cx="532" cy="22345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zöveg helye 26">
            <a:extLst>
              <a:ext uri="{FF2B5EF4-FFF2-40B4-BE49-F238E27FC236}">
                <a16:creationId xmlns:a16="http://schemas.microsoft.com/office/drawing/2014/main" id="{FFB0B4B3-6814-45D1-82B0-9C011B86EA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000" y="1935680"/>
            <a:ext cx="2186524" cy="258762"/>
          </a:xfrm>
          <a:solidFill>
            <a:srgbClr val="B0040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3" name="Szöveg helye 26">
            <a:extLst>
              <a:ext uri="{FF2B5EF4-FFF2-40B4-BE49-F238E27FC236}">
                <a16:creationId xmlns:a16="http://schemas.microsoft.com/office/drawing/2014/main" id="{AE3F8B4C-4190-4B12-A2DA-2E4396017E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47931" y="1929387"/>
            <a:ext cx="3421490" cy="258762"/>
          </a:xfrm>
          <a:solidFill>
            <a:srgbClr val="B0040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34" name="Straight Connector 73">
            <a:extLst>
              <a:ext uri="{FF2B5EF4-FFF2-40B4-BE49-F238E27FC236}">
                <a16:creationId xmlns:a16="http://schemas.microsoft.com/office/drawing/2014/main" id="{CCD11E3A-E533-4D56-8D8F-FDEE1F5E6821}"/>
              </a:ext>
            </a:extLst>
          </p:cNvPr>
          <p:cNvCxnSpPr/>
          <p:nvPr userDrawn="1"/>
        </p:nvCxnSpPr>
        <p:spPr>
          <a:xfrm flipH="1">
            <a:off x="4573079" y="1838139"/>
            <a:ext cx="1" cy="8313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FCF30401-C5D2-4896-BEF8-AA2D64CB1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2828" y="1931068"/>
            <a:ext cx="2186524" cy="258762"/>
          </a:xfrm>
          <a:solidFill>
            <a:srgbClr val="B0040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8" name="Szöveg helye 26">
            <a:extLst>
              <a:ext uri="{FF2B5EF4-FFF2-40B4-BE49-F238E27FC236}">
                <a16:creationId xmlns:a16="http://schemas.microsoft.com/office/drawing/2014/main" id="{BDFDEC67-96B1-47F8-8CE7-E78C5368C4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000" y="1444199"/>
            <a:ext cx="8361352" cy="258762"/>
          </a:xfrm>
          <a:solidFill>
            <a:srgbClr val="EA1C0A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9" name="Szöveg helye 26">
            <a:extLst>
              <a:ext uri="{FF2B5EF4-FFF2-40B4-BE49-F238E27FC236}">
                <a16:creationId xmlns:a16="http://schemas.microsoft.com/office/drawing/2014/main" id="{37FACBF6-8A18-4667-B7E8-95F13A5D18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17919" y="2431254"/>
            <a:ext cx="2186524" cy="321134"/>
          </a:xfrm>
          <a:solidFill>
            <a:srgbClr val="B00402">
              <a:alpha val="70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0" name="Szöveg helye 26">
            <a:extLst>
              <a:ext uri="{FF2B5EF4-FFF2-40B4-BE49-F238E27FC236}">
                <a16:creationId xmlns:a16="http://schemas.microsoft.com/office/drawing/2014/main" id="{65CA3545-9C38-4517-AC78-A578303058F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63284" y="2430237"/>
            <a:ext cx="1054466" cy="321134"/>
          </a:xfrm>
          <a:solidFill>
            <a:srgbClr val="B00402">
              <a:alpha val="70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1" name="Szöveg helye 26">
            <a:extLst>
              <a:ext uri="{FF2B5EF4-FFF2-40B4-BE49-F238E27FC236}">
                <a16:creationId xmlns:a16="http://schemas.microsoft.com/office/drawing/2014/main" id="{6F86DBB4-DB6E-4340-A2CE-85B9D45F4B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84886" y="2943995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3" name="Szöveg helye 26">
            <a:extLst>
              <a:ext uri="{FF2B5EF4-FFF2-40B4-BE49-F238E27FC236}">
                <a16:creationId xmlns:a16="http://schemas.microsoft.com/office/drawing/2014/main" id="{6C0A329F-2C7B-430E-A0FE-9CB0CDC64F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22210" y="2943996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4" name="Szöveg helye 26">
            <a:extLst>
              <a:ext uri="{FF2B5EF4-FFF2-40B4-BE49-F238E27FC236}">
                <a16:creationId xmlns:a16="http://schemas.microsoft.com/office/drawing/2014/main" id="{38CEBD3C-3D5F-46FC-BF03-7D94766C4C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63284" y="2943994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5" name="Szöveg helye 26">
            <a:extLst>
              <a:ext uri="{FF2B5EF4-FFF2-40B4-BE49-F238E27FC236}">
                <a16:creationId xmlns:a16="http://schemas.microsoft.com/office/drawing/2014/main" id="{E2B78A2C-7BDA-4BD8-AFD5-7B23C20088B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36447" y="2944969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6" name="Szöveg helye 26">
            <a:extLst>
              <a:ext uri="{FF2B5EF4-FFF2-40B4-BE49-F238E27FC236}">
                <a16:creationId xmlns:a16="http://schemas.microsoft.com/office/drawing/2014/main" id="{842E4993-9CA1-4A76-BABC-29C0352FDFB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12648" y="2944969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7" name="Szöveg helye 26">
            <a:extLst>
              <a:ext uri="{FF2B5EF4-FFF2-40B4-BE49-F238E27FC236}">
                <a16:creationId xmlns:a16="http://schemas.microsoft.com/office/drawing/2014/main" id="{E569E607-1DFD-4CAA-82E8-78E9F76A82A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61965" y="2943993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8" name="Szöveg helye 26">
            <a:extLst>
              <a:ext uri="{FF2B5EF4-FFF2-40B4-BE49-F238E27FC236}">
                <a16:creationId xmlns:a16="http://schemas.microsoft.com/office/drawing/2014/main" id="{259E8E65-2F70-4683-9BA4-F7DB936AAB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3325" y="2934454"/>
            <a:ext cx="1054466" cy="346593"/>
          </a:xfrm>
          <a:solidFill>
            <a:srgbClr val="5CC1CB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49" name="Szöveg helye 26">
            <a:extLst>
              <a:ext uri="{FF2B5EF4-FFF2-40B4-BE49-F238E27FC236}">
                <a16:creationId xmlns:a16="http://schemas.microsoft.com/office/drawing/2014/main" id="{93FEFE26-9FA2-412D-9BA3-D348F64BF0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9971" y="3494695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0" name="Szöveg helye 26">
            <a:extLst>
              <a:ext uri="{FF2B5EF4-FFF2-40B4-BE49-F238E27FC236}">
                <a16:creationId xmlns:a16="http://schemas.microsoft.com/office/drawing/2014/main" id="{B968D179-8110-43F4-B004-A490928BC27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9551" y="3500559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1" name="Szöveg helye 26">
            <a:extLst>
              <a:ext uri="{FF2B5EF4-FFF2-40B4-BE49-F238E27FC236}">
                <a16:creationId xmlns:a16="http://schemas.microsoft.com/office/drawing/2014/main" id="{3DA222A2-29B8-48BA-8853-C8FE89A59D9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17919" y="3504368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2" name="Szöveg helye 26">
            <a:extLst>
              <a:ext uri="{FF2B5EF4-FFF2-40B4-BE49-F238E27FC236}">
                <a16:creationId xmlns:a16="http://schemas.microsoft.com/office/drawing/2014/main" id="{72735EAA-0705-467B-A59E-FA72B4A175C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31443" y="3513067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3" name="Szöveg helye 26">
            <a:extLst>
              <a:ext uri="{FF2B5EF4-FFF2-40B4-BE49-F238E27FC236}">
                <a16:creationId xmlns:a16="http://schemas.microsoft.com/office/drawing/2014/main" id="{5E6792B4-269D-4841-B699-691D78D2CD1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68581" y="3520680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4" name="Szöveg helye 26">
            <a:extLst>
              <a:ext uri="{FF2B5EF4-FFF2-40B4-BE49-F238E27FC236}">
                <a16:creationId xmlns:a16="http://schemas.microsoft.com/office/drawing/2014/main" id="{AB3B4762-115A-418D-A163-125D690F23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22210" y="3520680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5" name="Szöveg helye 26">
            <a:extLst>
              <a:ext uri="{FF2B5EF4-FFF2-40B4-BE49-F238E27FC236}">
                <a16:creationId xmlns:a16="http://schemas.microsoft.com/office/drawing/2014/main" id="{211E2DBF-9E2E-4B9E-A1F8-4C02914A11B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89955" y="3514040"/>
            <a:ext cx="1054466" cy="346593"/>
          </a:xfrm>
          <a:solidFill>
            <a:srgbClr val="5CC1CB">
              <a:alpha val="71000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6" name="Szöveg helye 26">
            <a:extLst>
              <a:ext uri="{FF2B5EF4-FFF2-40B4-BE49-F238E27FC236}">
                <a16:creationId xmlns:a16="http://schemas.microsoft.com/office/drawing/2014/main" id="{49425B5C-3A78-459A-8B9A-329DA42AF99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96087" y="4051532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7" name="Szöveg helye 26">
            <a:extLst>
              <a:ext uri="{FF2B5EF4-FFF2-40B4-BE49-F238E27FC236}">
                <a16:creationId xmlns:a16="http://schemas.microsoft.com/office/drawing/2014/main" id="{FFB9A1A7-7C76-440B-B5A8-942FAE05250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67234" y="4051531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8" name="Szöveg helye 26">
            <a:extLst>
              <a:ext uri="{FF2B5EF4-FFF2-40B4-BE49-F238E27FC236}">
                <a16:creationId xmlns:a16="http://schemas.microsoft.com/office/drawing/2014/main" id="{317842F0-C9DA-4BB5-BACC-CCC6485DD16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923112" y="4056611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9" name="Szöveg helye 26">
            <a:extLst>
              <a:ext uri="{FF2B5EF4-FFF2-40B4-BE49-F238E27FC236}">
                <a16:creationId xmlns:a16="http://schemas.microsoft.com/office/drawing/2014/main" id="{407145C0-E80C-4250-8BB0-946DCB8C47E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036447" y="4049525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0" name="Szöveg helye 26">
            <a:extLst>
              <a:ext uri="{FF2B5EF4-FFF2-40B4-BE49-F238E27FC236}">
                <a16:creationId xmlns:a16="http://schemas.microsoft.com/office/drawing/2014/main" id="{692A1F51-1EB5-4B88-BA8D-B505686E049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69645" y="4044892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1" name="Szöveg helye 26">
            <a:extLst>
              <a:ext uri="{FF2B5EF4-FFF2-40B4-BE49-F238E27FC236}">
                <a16:creationId xmlns:a16="http://schemas.microsoft.com/office/drawing/2014/main" id="{6C1B77A3-65A8-4A83-8A85-DD1956953C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22210" y="4056611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2" name="Szöveg helye 26">
            <a:extLst>
              <a:ext uri="{FF2B5EF4-FFF2-40B4-BE49-F238E27FC236}">
                <a16:creationId xmlns:a16="http://schemas.microsoft.com/office/drawing/2014/main" id="{07A6D254-B3E0-4977-BBCD-0CFBFFC2987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4886" y="4051532"/>
            <a:ext cx="1054466" cy="346593"/>
          </a:xfrm>
          <a:solidFill>
            <a:srgbClr val="E3E000"/>
          </a:solidFill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339498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1CA0AD9-6B8C-42F9-B005-B49BF7923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SWOT </a:t>
            </a:r>
            <a:r>
              <a:rPr lang="hu-HU" dirty="0" err="1"/>
              <a:t>analysi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82F933E4-21C6-42DC-96D1-B3F174E01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ECB36-78D6-4D90-94AE-0B2BB307C63B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5061484-47F5-4974-91EE-526EB81B7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15EAE19-94D3-470D-9236-8D8C42714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34">
            <a:extLst>
              <a:ext uri="{FF2B5EF4-FFF2-40B4-BE49-F238E27FC236}">
                <a16:creationId xmlns:a16="http://schemas.microsoft.com/office/drawing/2014/main" id="{9FE545CD-EEE5-4B26-948D-3F40AB3A9B7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78000" y="1481863"/>
            <a:ext cx="3596653" cy="455692"/>
          </a:xfrm>
          <a:solidFill>
            <a:srgbClr val="EA1C0A"/>
          </a:solidFill>
        </p:spPr>
        <p:txBody>
          <a:bodyPr lIns="72000" anchor="t"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7" name="Szöveg helye 47">
            <a:extLst>
              <a:ext uri="{FF2B5EF4-FFF2-40B4-BE49-F238E27FC236}">
                <a16:creationId xmlns:a16="http://schemas.microsoft.com/office/drawing/2014/main" id="{833D81BD-10CE-44D0-B98B-5CFD00B1DB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744" y="1937152"/>
            <a:ext cx="1793875" cy="936918"/>
          </a:xfrm>
        </p:spPr>
        <p:txBody>
          <a:bodyPr lIns="72000"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10" name="Szöveg helye 47">
            <a:extLst>
              <a:ext uri="{FF2B5EF4-FFF2-40B4-BE49-F238E27FC236}">
                <a16:creationId xmlns:a16="http://schemas.microsoft.com/office/drawing/2014/main" id="{F716F92F-6E3E-409F-B122-3B6BCB5AC5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8000" y="3342126"/>
            <a:ext cx="1793875" cy="936918"/>
          </a:xfrm>
        </p:spPr>
        <p:txBody>
          <a:bodyPr lIns="72000"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12" name="Szöveg helye 34">
            <a:extLst>
              <a:ext uri="{FF2B5EF4-FFF2-40B4-BE49-F238E27FC236}">
                <a16:creationId xmlns:a16="http://schemas.microsoft.com/office/drawing/2014/main" id="{21525048-6EA0-4A7A-B708-E8016F21C54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78000" y="2873667"/>
            <a:ext cx="3596653" cy="455692"/>
          </a:xfrm>
          <a:solidFill>
            <a:srgbClr val="EA1C0A"/>
          </a:solidFill>
        </p:spPr>
        <p:txBody>
          <a:bodyPr lIns="72000" anchor="t"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3" name="Szöveg helye 34">
            <a:extLst>
              <a:ext uri="{FF2B5EF4-FFF2-40B4-BE49-F238E27FC236}">
                <a16:creationId xmlns:a16="http://schemas.microsoft.com/office/drawing/2014/main" id="{B759B2BA-A358-4433-824B-97A4EA7AA53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83405" y="1481863"/>
            <a:ext cx="3596653" cy="455692"/>
          </a:xfrm>
          <a:solidFill>
            <a:srgbClr val="EA1C0A"/>
          </a:solidFill>
        </p:spPr>
        <p:txBody>
          <a:bodyPr lIns="72000" anchor="t"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4" name="Szöveg helye 34">
            <a:extLst>
              <a:ext uri="{FF2B5EF4-FFF2-40B4-BE49-F238E27FC236}">
                <a16:creationId xmlns:a16="http://schemas.microsoft.com/office/drawing/2014/main" id="{B5D8D05C-EF88-40CC-8499-93C0E296C04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83405" y="2873667"/>
            <a:ext cx="3596653" cy="455692"/>
          </a:xfrm>
          <a:solidFill>
            <a:srgbClr val="EA1C0A"/>
          </a:solidFill>
        </p:spPr>
        <p:txBody>
          <a:bodyPr lIns="72000" anchor="t"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9" name="Szöveg helye 47">
            <a:extLst>
              <a:ext uri="{FF2B5EF4-FFF2-40B4-BE49-F238E27FC236}">
                <a16:creationId xmlns:a16="http://schemas.microsoft.com/office/drawing/2014/main" id="{C36630A4-429D-450F-ACB7-165D5E278E3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87856" y="3329359"/>
            <a:ext cx="1793875" cy="936918"/>
          </a:xfrm>
        </p:spPr>
        <p:txBody>
          <a:bodyPr lIns="72000"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0" name="Szöveg helye 47">
            <a:extLst>
              <a:ext uri="{FF2B5EF4-FFF2-40B4-BE49-F238E27FC236}">
                <a16:creationId xmlns:a16="http://schemas.microsoft.com/office/drawing/2014/main" id="{ADB8375F-F092-490C-97E3-DA4FFB3F399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187856" y="1929447"/>
            <a:ext cx="1793875" cy="936918"/>
          </a:xfrm>
        </p:spPr>
        <p:txBody>
          <a:bodyPr lIns="72000"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pic>
        <p:nvPicPr>
          <p:cNvPr id="28" name="Bild 2">
            <a:extLst>
              <a:ext uri="{FF2B5EF4-FFF2-40B4-BE49-F238E27FC236}">
                <a16:creationId xmlns:a16="http://schemas.microsoft.com/office/drawing/2014/main" id="{832729CA-9157-40B3-8270-200291E34B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1397" y="1439709"/>
            <a:ext cx="540000" cy="540000"/>
          </a:xfrm>
          <a:prstGeom prst="rect">
            <a:avLst/>
          </a:prstGeom>
        </p:spPr>
      </p:pic>
      <p:pic>
        <p:nvPicPr>
          <p:cNvPr id="29" name="Bild 2">
            <a:extLst>
              <a:ext uri="{FF2B5EF4-FFF2-40B4-BE49-F238E27FC236}">
                <a16:creationId xmlns:a16="http://schemas.microsoft.com/office/drawing/2014/main" id="{66011E6E-554B-4DAE-BFFB-6A0366BC42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4653" y="2831513"/>
            <a:ext cx="540000" cy="540000"/>
          </a:xfrm>
          <a:prstGeom prst="rect">
            <a:avLst/>
          </a:prstGeom>
        </p:spPr>
      </p:pic>
      <p:pic>
        <p:nvPicPr>
          <p:cNvPr id="30" name="Bild 21">
            <a:extLst>
              <a:ext uri="{FF2B5EF4-FFF2-40B4-BE49-F238E27FC236}">
                <a16:creationId xmlns:a16="http://schemas.microsoft.com/office/drawing/2014/main" id="{479B62AA-2613-4DC6-9CCE-2A9D6EA7DB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058" y="1439709"/>
            <a:ext cx="540000" cy="540000"/>
          </a:xfrm>
          <a:prstGeom prst="rect">
            <a:avLst/>
          </a:prstGeom>
        </p:spPr>
      </p:pic>
      <p:pic>
        <p:nvPicPr>
          <p:cNvPr id="31" name="Bild 21">
            <a:extLst>
              <a:ext uri="{FF2B5EF4-FFF2-40B4-BE49-F238E27FC236}">
                <a16:creationId xmlns:a16="http://schemas.microsoft.com/office/drawing/2014/main" id="{CEF37BF9-C72E-4045-A79C-D5E416D17F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058" y="2831513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105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ision matrix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7A07884-9BC1-4F8D-A6C6-91326D303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Decision </a:t>
            </a:r>
            <a:r>
              <a:rPr lang="hu-HU" dirty="0" err="1"/>
              <a:t>matix</a:t>
            </a:r>
            <a:r>
              <a:rPr lang="hu-HU" dirty="0"/>
              <a:t> 2/3</a:t>
            </a:r>
            <a:br>
              <a:rPr lang="hu-HU" dirty="0"/>
            </a:b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F3293801-0237-4C95-8A58-01C5098360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592C62-8E28-4821-9E04-C06F181126C2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81C0C0E4-A560-4FAE-A657-0F42A4F29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6F5AE520-BFC3-4EBC-9876-1657BD38A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26">
            <a:extLst>
              <a:ext uri="{FF2B5EF4-FFF2-40B4-BE49-F238E27FC236}">
                <a16:creationId xmlns:a16="http://schemas.microsoft.com/office/drawing/2014/main" id="{EC27B744-951E-4C93-9A3D-1FC8DDC8E8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1719272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7" name="Szöveg helye 26">
            <a:extLst>
              <a:ext uri="{FF2B5EF4-FFF2-40B4-BE49-F238E27FC236}">
                <a16:creationId xmlns:a16="http://schemas.microsoft.com/office/drawing/2014/main" id="{6D4B7862-8CEB-4E2A-8A9F-CE65D2F2FE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3405" y="2142776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B368CB95-C481-4614-B1D6-48E8D3FFD6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3405" y="2566280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DD084AB2-7A93-44D1-85A2-24AAF4FBFC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3405" y="2989784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1FA99613-8D61-447A-BA36-C9A9690E0A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3405" y="3413288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1" name="Szöveg helye 26">
            <a:extLst>
              <a:ext uri="{FF2B5EF4-FFF2-40B4-BE49-F238E27FC236}">
                <a16:creationId xmlns:a16="http://schemas.microsoft.com/office/drawing/2014/main" id="{79313C91-8DDC-4A11-BDF8-EF35401400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3405" y="3836792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cxnSp>
        <p:nvCxnSpPr>
          <p:cNvPr id="12" name="Gerade Verbindung 33">
            <a:extLst>
              <a:ext uri="{FF2B5EF4-FFF2-40B4-BE49-F238E27FC236}">
                <a16:creationId xmlns:a16="http://schemas.microsoft.com/office/drawing/2014/main" id="{B05A4C74-8756-413F-A900-7781FFBDEE51}"/>
              </a:ext>
            </a:extLst>
          </p:cNvPr>
          <p:cNvCxnSpPr/>
          <p:nvPr userDrawn="1"/>
        </p:nvCxnSpPr>
        <p:spPr>
          <a:xfrm>
            <a:off x="1240607" y="1846023"/>
            <a:ext cx="6873793" cy="52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>
            <a:extLst>
              <a:ext uri="{FF2B5EF4-FFF2-40B4-BE49-F238E27FC236}">
                <a16:creationId xmlns:a16="http://schemas.microsoft.com/office/drawing/2014/main" id="{078F80E7-2F5D-4FFA-AEE7-C6786D0F107B}"/>
              </a:ext>
            </a:extLst>
          </p:cNvPr>
          <p:cNvCxnSpPr/>
          <p:nvPr userDrawn="1"/>
        </p:nvCxnSpPr>
        <p:spPr>
          <a:xfrm>
            <a:off x="1240606" y="2272157"/>
            <a:ext cx="6873793" cy="52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3">
            <a:extLst>
              <a:ext uri="{FF2B5EF4-FFF2-40B4-BE49-F238E27FC236}">
                <a16:creationId xmlns:a16="http://schemas.microsoft.com/office/drawing/2014/main" id="{98EFBADE-DC8B-4352-9740-6038BB606E5C}"/>
              </a:ext>
            </a:extLst>
          </p:cNvPr>
          <p:cNvCxnSpPr/>
          <p:nvPr userDrawn="1"/>
        </p:nvCxnSpPr>
        <p:spPr>
          <a:xfrm>
            <a:off x="1240605" y="2695661"/>
            <a:ext cx="6873793" cy="52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3">
            <a:extLst>
              <a:ext uri="{FF2B5EF4-FFF2-40B4-BE49-F238E27FC236}">
                <a16:creationId xmlns:a16="http://schemas.microsoft.com/office/drawing/2014/main" id="{75735981-1D60-4CEE-9D7E-D1F6CB72332F}"/>
              </a:ext>
            </a:extLst>
          </p:cNvPr>
          <p:cNvCxnSpPr/>
          <p:nvPr userDrawn="1"/>
        </p:nvCxnSpPr>
        <p:spPr>
          <a:xfrm>
            <a:off x="1240607" y="3113905"/>
            <a:ext cx="6873793" cy="52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3">
            <a:extLst>
              <a:ext uri="{FF2B5EF4-FFF2-40B4-BE49-F238E27FC236}">
                <a16:creationId xmlns:a16="http://schemas.microsoft.com/office/drawing/2014/main" id="{ADAEBE95-3CA6-493B-9089-11F90A15585A}"/>
              </a:ext>
            </a:extLst>
          </p:cNvPr>
          <p:cNvCxnSpPr/>
          <p:nvPr userDrawn="1"/>
        </p:nvCxnSpPr>
        <p:spPr>
          <a:xfrm>
            <a:off x="1240604" y="3540039"/>
            <a:ext cx="6873793" cy="52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3">
            <a:extLst>
              <a:ext uri="{FF2B5EF4-FFF2-40B4-BE49-F238E27FC236}">
                <a16:creationId xmlns:a16="http://schemas.microsoft.com/office/drawing/2014/main" id="{93F58B7B-B7F6-41E3-B077-980DE8EEB586}"/>
              </a:ext>
            </a:extLst>
          </p:cNvPr>
          <p:cNvCxnSpPr/>
          <p:nvPr userDrawn="1"/>
        </p:nvCxnSpPr>
        <p:spPr>
          <a:xfrm>
            <a:off x="1240603" y="3963543"/>
            <a:ext cx="6873793" cy="52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5CAD9E81-495F-4316-8549-5206351EA2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40603" y="1187873"/>
            <a:ext cx="752364" cy="258762"/>
          </a:xfrm>
        </p:spPr>
        <p:txBody>
          <a:bodyPr anchor="ctr"/>
          <a:lstStyle>
            <a:lvl1pPr algn="l"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9" name="Szöveg helye 26">
            <a:extLst>
              <a:ext uri="{FF2B5EF4-FFF2-40B4-BE49-F238E27FC236}">
                <a16:creationId xmlns:a16="http://schemas.microsoft.com/office/drawing/2014/main" id="{ABEFE245-6272-4314-959A-CF6DE1574B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60218" y="1185836"/>
            <a:ext cx="752364" cy="258762"/>
          </a:xfrm>
        </p:spPr>
        <p:txBody>
          <a:bodyPr anchor="ctr"/>
          <a:lstStyle>
            <a:lvl1pPr algn="r"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57832671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ision matrix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D65921B-8AEE-44D5-9791-502D16659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Decision </a:t>
            </a:r>
            <a:r>
              <a:rPr lang="hu-HU" dirty="0" err="1"/>
              <a:t>matrix</a:t>
            </a:r>
            <a:r>
              <a:rPr lang="hu-HU" dirty="0"/>
              <a:t> 3/3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37A949E9-4286-417C-B32B-6008311A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0F3C2A3B-F21A-4A04-B0A0-B1CEFF069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26">
            <a:extLst>
              <a:ext uri="{FF2B5EF4-FFF2-40B4-BE49-F238E27FC236}">
                <a16:creationId xmlns:a16="http://schemas.microsoft.com/office/drawing/2014/main" id="{AC177551-BE5B-4D8B-BB72-20298C0318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1167184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riteria</a:t>
            </a:r>
            <a:endParaRPr lang="hu-HU" dirty="0"/>
          </a:p>
        </p:txBody>
      </p:sp>
      <p:sp>
        <p:nvSpPr>
          <p:cNvPr id="7" name="Szöveg helye 26">
            <a:extLst>
              <a:ext uri="{FF2B5EF4-FFF2-40B4-BE49-F238E27FC236}">
                <a16:creationId xmlns:a16="http://schemas.microsoft.com/office/drawing/2014/main" id="{94B593ED-F46A-4362-BA4F-317EC1F61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09129" y="1167184"/>
            <a:ext cx="752364" cy="258762"/>
          </a:xfrm>
        </p:spPr>
        <p:txBody>
          <a:bodyPr anchor="ctr"/>
          <a:lstStyle>
            <a:lvl1pPr algn="l"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riteria</a:t>
            </a:r>
            <a:endParaRPr lang="hu-HU" dirty="0"/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C51D306D-06B3-4328-BF4D-C634A3A52F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02454" y="1167184"/>
            <a:ext cx="752364" cy="258762"/>
          </a:xfrm>
        </p:spPr>
        <p:txBody>
          <a:bodyPr anchor="ctr"/>
          <a:lstStyle>
            <a:lvl1pPr algn="r"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riteria</a:t>
            </a:r>
            <a:endParaRPr lang="hu-HU" dirty="0"/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0C4F8917-3203-48E9-8E07-815A24875E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8000" y="1854543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53AABB50-99FD-454D-AE1B-B7777E2E6B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8000" y="2208539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1" name="Szöveg helye 26">
            <a:extLst>
              <a:ext uri="{FF2B5EF4-FFF2-40B4-BE49-F238E27FC236}">
                <a16:creationId xmlns:a16="http://schemas.microsoft.com/office/drawing/2014/main" id="{66EB05F7-A3C4-4684-AEE7-8816A4A2983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0" y="2557126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2" name="Szöveg helye 26">
            <a:extLst>
              <a:ext uri="{FF2B5EF4-FFF2-40B4-BE49-F238E27FC236}">
                <a16:creationId xmlns:a16="http://schemas.microsoft.com/office/drawing/2014/main" id="{4C35EA2F-3EEC-4673-AF9E-9BB971915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000" y="2905713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3" name="Szöveg helye 26">
            <a:extLst>
              <a:ext uri="{FF2B5EF4-FFF2-40B4-BE49-F238E27FC236}">
                <a16:creationId xmlns:a16="http://schemas.microsoft.com/office/drawing/2014/main" id="{C726850C-23F6-4BCB-AFAC-EB988ED083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000" y="3259709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FE560220-48A4-4608-966B-1FB86E591A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000" y="3613705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307267BE-72ED-4187-8160-82E41020E5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000" y="3967701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69E82D28-FADB-4BB3-9A67-72DD7F66A4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8000" y="4321697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AE7DF43C-74D7-4810-A4C7-687CC9B079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8000" y="4675693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AE125C24-0633-4E65-91C0-82DC79171D7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8000" y="1521180"/>
            <a:ext cx="752364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Xxx</a:t>
            </a:r>
            <a:endParaRPr lang="hu-HU" dirty="0"/>
          </a:p>
        </p:txBody>
      </p:sp>
      <p:sp>
        <p:nvSpPr>
          <p:cNvPr id="20" name="Téglalap 19">
            <a:extLst>
              <a:ext uri="{FF2B5EF4-FFF2-40B4-BE49-F238E27FC236}">
                <a16:creationId xmlns:a16="http://schemas.microsoft.com/office/drawing/2014/main" id="{94E39FB4-A496-4089-B0B2-91712230CD8C}"/>
              </a:ext>
            </a:extLst>
          </p:cNvPr>
          <p:cNvSpPr/>
          <p:nvPr userDrawn="1"/>
        </p:nvSpPr>
        <p:spPr>
          <a:xfrm>
            <a:off x="1509128" y="1521180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1" name="Téglalap 20">
            <a:extLst>
              <a:ext uri="{FF2B5EF4-FFF2-40B4-BE49-F238E27FC236}">
                <a16:creationId xmlns:a16="http://schemas.microsoft.com/office/drawing/2014/main" id="{E1F9DC6F-E197-457E-BE3E-BBA056A7C377}"/>
              </a:ext>
            </a:extLst>
          </p:cNvPr>
          <p:cNvSpPr/>
          <p:nvPr userDrawn="1"/>
        </p:nvSpPr>
        <p:spPr>
          <a:xfrm>
            <a:off x="1509129" y="1854543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2" name="Téglalap 21">
            <a:extLst>
              <a:ext uri="{FF2B5EF4-FFF2-40B4-BE49-F238E27FC236}">
                <a16:creationId xmlns:a16="http://schemas.microsoft.com/office/drawing/2014/main" id="{4F6ED1ED-441F-4015-97B1-EDC8927CF4F9}"/>
              </a:ext>
            </a:extLst>
          </p:cNvPr>
          <p:cNvSpPr/>
          <p:nvPr userDrawn="1"/>
        </p:nvSpPr>
        <p:spPr>
          <a:xfrm>
            <a:off x="1509129" y="2203122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églalap 22">
            <a:extLst>
              <a:ext uri="{FF2B5EF4-FFF2-40B4-BE49-F238E27FC236}">
                <a16:creationId xmlns:a16="http://schemas.microsoft.com/office/drawing/2014/main" id="{00FCD5C3-338E-49B3-A64A-E2821F828270}"/>
              </a:ext>
            </a:extLst>
          </p:cNvPr>
          <p:cNvSpPr/>
          <p:nvPr userDrawn="1"/>
        </p:nvSpPr>
        <p:spPr>
          <a:xfrm>
            <a:off x="1509129" y="2551701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Téglalap 23">
            <a:extLst>
              <a:ext uri="{FF2B5EF4-FFF2-40B4-BE49-F238E27FC236}">
                <a16:creationId xmlns:a16="http://schemas.microsoft.com/office/drawing/2014/main" id="{4449B924-4193-4225-A805-7D2FFCEA9994}"/>
              </a:ext>
            </a:extLst>
          </p:cNvPr>
          <p:cNvSpPr/>
          <p:nvPr userDrawn="1"/>
        </p:nvSpPr>
        <p:spPr>
          <a:xfrm>
            <a:off x="1509129" y="2908845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5" name="Téglalap 24">
            <a:extLst>
              <a:ext uri="{FF2B5EF4-FFF2-40B4-BE49-F238E27FC236}">
                <a16:creationId xmlns:a16="http://schemas.microsoft.com/office/drawing/2014/main" id="{96A2A8F7-B03B-477D-B1F7-005415AC84A3}"/>
              </a:ext>
            </a:extLst>
          </p:cNvPr>
          <p:cNvSpPr/>
          <p:nvPr userDrawn="1"/>
        </p:nvSpPr>
        <p:spPr>
          <a:xfrm>
            <a:off x="1509127" y="3259709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Téglalap 25">
            <a:extLst>
              <a:ext uri="{FF2B5EF4-FFF2-40B4-BE49-F238E27FC236}">
                <a16:creationId xmlns:a16="http://schemas.microsoft.com/office/drawing/2014/main" id="{449EF4A1-7ECA-4920-98E6-4233368D193B}"/>
              </a:ext>
            </a:extLst>
          </p:cNvPr>
          <p:cNvSpPr/>
          <p:nvPr userDrawn="1"/>
        </p:nvSpPr>
        <p:spPr>
          <a:xfrm>
            <a:off x="1509126" y="3613705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Téglalap 26">
            <a:extLst>
              <a:ext uri="{FF2B5EF4-FFF2-40B4-BE49-F238E27FC236}">
                <a16:creationId xmlns:a16="http://schemas.microsoft.com/office/drawing/2014/main" id="{BBE10E0D-92D1-4064-8F7F-5E82E76436EA}"/>
              </a:ext>
            </a:extLst>
          </p:cNvPr>
          <p:cNvSpPr/>
          <p:nvPr userDrawn="1"/>
        </p:nvSpPr>
        <p:spPr>
          <a:xfrm>
            <a:off x="1509129" y="3968582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8" name="Téglalap 27">
            <a:extLst>
              <a:ext uri="{FF2B5EF4-FFF2-40B4-BE49-F238E27FC236}">
                <a16:creationId xmlns:a16="http://schemas.microsoft.com/office/drawing/2014/main" id="{14114076-B6F3-43B9-B3D0-31BA18436AE5}"/>
              </a:ext>
            </a:extLst>
          </p:cNvPr>
          <p:cNvSpPr/>
          <p:nvPr userDrawn="1"/>
        </p:nvSpPr>
        <p:spPr>
          <a:xfrm>
            <a:off x="1509129" y="4321697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Téglalap 28">
            <a:extLst>
              <a:ext uri="{FF2B5EF4-FFF2-40B4-BE49-F238E27FC236}">
                <a16:creationId xmlns:a16="http://schemas.microsoft.com/office/drawing/2014/main" id="{F528D9D2-226A-4C09-8210-6887F8A1CC98}"/>
              </a:ext>
            </a:extLst>
          </p:cNvPr>
          <p:cNvSpPr/>
          <p:nvPr userDrawn="1"/>
        </p:nvSpPr>
        <p:spPr>
          <a:xfrm>
            <a:off x="1509129" y="4675358"/>
            <a:ext cx="5545689" cy="258762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Line 39">
            <a:extLst>
              <a:ext uri="{FF2B5EF4-FFF2-40B4-BE49-F238E27FC236}">
                <a16:creationId xmlns:a16="http://schemas.microsoft.com/office/drawing/2014/main" id="{B5FAB417-A74C-4105-A72B-CA0A8ABD3A3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259048" y="1521180"/>
            <a:ext cx="0" cy="3384000"/>
          </a:xfrm>
          <a:prstGeom prst="line">
            <a:avLst/>
          </a:prstGeom>
          <a:noFill/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pic>
        <p:nvPicPr>
          <p:cNvPr id="34" name="Bild 48" descr="EON_UI_Icon_Arrow_Right_48x48.pdf">
            <a:extLst>
              <a:ext uri="{FF2B5EF4-FFF2-40B4-BE49-F238E27FC236}">
                <a16:creationId xmlns:a16="http://schemas.microsoft.com/office/drawing/2014/main" id="{E6329CC0-62B5-4B87-8DC8-502B912E51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5922" y="2967817"/>
            <a:ext cx="393316" cy="393316"/>
          </a:xfrm>
          <a:prstGeom prst="rect">
            <a:avLst/>
          </a:prstGeom>
        </p:spPr>
      </p:pic>
      <p:sp>
        <p:nvSpPr>
          <p:cNvPr id="35" name="Szöveg helye 47">
            <a:extLst>
              <a:ext uri="{FF2B5EF4-FFF2-40B4-BE49-F238E27FC236}">
                <a16:creationId xmlns:a16="http://schemas.microsoft.com/office/drawing/2014/main" id="{0A47782F-27B3-4A61-9955-1293E3BAB3B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595379" y="1515465"/>
            <a:ext cx="1306883" cy="936918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58741428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/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F1C5CF4-3864-4FA2-AB64-B54FFE1188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3036066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Pro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CE813774-910B-4ED8-8316-BDF32D992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Bild 28">
            <a:extLst>
              <a:ext uri="{FF2B5EF4-FFF2-40B4-BE49-F238E27FC236}">
                <a16:creationId xmlns:a16="http://schemas.microsoft.com/office/drawing/2014/main" id="{887EC3A1-CED3-4D9A-836A-FC923A1B0E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9914" y="155926"/>
            <a:ext cx="623454" cy="623454"/>
          </a:xfrm>
          <a:prstGeom prst="rect">
            <a:avLst/>
          </a:prstGeom>
        </p:spPr>
      </p:pic>
      <p:pic>
        <p:nvPicPr>
          <p:cNvPr id="8" name="Bild 15">
            <a:extLst>
              <a:ext uri="{FF2B5EF4-FFF2-40B4-BE49-F238E27FC236}">
                <a16:creationId xmlns:a16="http://schemas.microsoft.com/office/drawing/2014/main" id="{7F2A24CF-0010-4538-B830-BE4F088BD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868946" y="272315"/>
            <a:ext cx="623454" cy="623454"/>
          </a:xfrm>
          <a:prstGeom prst="rect">
            <a:avLst/>
          </a:prstGeom>
        </p:spPr>
      </p:pic>
      <p:sp>
        <p:nvSpPr>
          <p:cNvPr id="9" name="Line 39">
            <a:extLst>
              <a:ext uri="{FF2B5EF4-FFF2-40B4-BE49-F238E27FC236}">
                <a16:creationId xmlns:a16="http://schemas.microsoft.com/office/drawing/2014/main" id="{D36AFC4A-1313-4155-84A4-C529712A32F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49217" y="339725"/>
            <a:ext cx="0" cy="4362904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10" name="Szöveg helye 22">
            <a:extLst>
              <a:ext uri="{FF2B5EF4-FFF2-40B4-BE49-F238E27FC236}">
                <a16:creationId xmlns:a16="http://schemas.microsoft.com/office/drawing/2014/main" id="{C9934D8D-304E-41FA-9284-2811A8B9C0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001" y="1441765"/>
            <a:ext cx="3291913" cy="2914272"/>
          </a:xfrm>
        </p:spPr>
        <p:txBody>
          <a:bodyPr/>
          <a:lstStyle>
            <a:lvl1pPr marL="285750" indent="-285750">
              <a:buClr>
                <a:srgbClr val="EA1C0A"/>
              </a:buClr>
              <a:buFont typeface="EON Brix Sans" panose="020B0504040000000000" pitchFamily="34" charset="-18"/>
              <a:buChar char="•"/>
              <a:defRPr/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ip</a:t>
            </a:r>
            <a:endParaRPr lang="hu-HU" dirty="0"/>
          </a:p>
          <a:p>
            <a:pPr lvl="0"/>
            <a:r>
              <a:rPr lang="hu-HU" dirty="0" err="1"/>
              <a:t>Consetetur</a:t>
            </a:r>
            <a:r>
              <a:rPr lang="hu-HU" dirty="0"/>
              <a:t> </a:t>
            </a:r>
            <a:r>
              <a:rPr lang="hu-HU" dirty="0" err="1"/>
              <a:t>sadipscing</a:t>
            </a:r>
            <a:r>
              <a:rPr lang="hu-HU" dirty="0"/>
              <a:t> </a:t>
            </a:r>
            <a:r>
              <a:rPr lang="hu-HU" dirty="0" err="1"/>
              <a:t>elitr</a:t>
            </a:r>
            <a:r>
              <a:rPr lang="hu-HU" dirty="0"/>
              <a:t> </a:t>
            </a:r>
            <a:r>
              <a:rPr lang="hu-HU" dirty="0" err="1"/>
              <a:t>sed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11" name="Szöveg helye 22">
            <a:extLst>
              <a:ext uri="{FF2B5EF4-FFF2-40B4-BE49-F238E27FC236}">
                <a16:creationId xmlns:a16="http://schemas.microsoft.com/office/drawing/2014/main" id="{80CCEEEB-2AE7-421C-8F6D-8811FE21A9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05140" y="1441765"/>
            <a:ext cx="2975078" cy="2914272"/>
          </a:xfrm>
        </p:spPr>
        <p:txBody>
          <a:bodyPr/>
          <a:lstStyle>
            <a:lvl1pPr marL="285750" indent="-285750">
              <a:buClr>
                <a:srgbClr val="EA1C0A"/>
              </a:buClr>
              <a:buFont typeface="EON Brix Sans" panose="020B0504040000000000" pitchFamily="34" charset="-18"/>
              <a:buChar char="•"/>
              <a:defRPr/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ip</a:t>
            </a:r>
            <a:endParaRPr lang="hu-HU" dirty="0"/>
          </a:p>
          <a:p>
            <a:pPr lvl="0"/>
            <a:r>
              <a:rPr lang="hu-HU" dirty="0" err="1"/>
              <a:t>Consetetur</a:t>
            </a:r>
            <a:r>
              <a:rPr lang="hu-HU" dirty="0"/>
              <a:t> </a:t>
            </a:r>
            <a:r>
              <a:rPr lang="hu-HU" dirty="0" err="1"/>
              <a:t>sadipscing</a:t>
            </a:r>
            <a:r>
              <a:rPr lang="hu-HU" dirty="0"/>
              <a:t> </a:t>
            </a:r>
            <a:r>
              <a:rPr lang="hu-HU" dirty="0" err="1"/>
              <a:t>elitr</a:t>
            </a:r>
            <a:r>
              <a:rPr lang="hu-HU" dirty="0"/>
              <a:t> </a:t>
            </a:r>
            <a:r>
              <a:rPr lang="hu-HU" dirty="0" err="1"/>
              <a:t>sed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13" name="Szöveg helye 22">
            <a:extLst>
              <a:ext uri="{FF2B5EF4-FFF2-40B4-BE49-F238E27FC236}">
                <a16:creationId xmlns:a16="http://schemas.microsoft.com/office/drawing/2014/main" id="{39DF6159-E95C-448C-9588-9B54956F69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46635" y="378000"/>
            <a:ext cx="3034800" cy="720000"/>
          </a:xfrm>
        </p:spPr>
        <p:txBody>
          <a:bodyPr tIns="36000" anchor="t"/>
          <a:lstStyle>
            <a:lvl1pPr marL="0" indent="0">
              <a:buClr>
                <a:schemeClr val="bg1"/>
              </a:buClr>
              <a:buFontTx/>
              <a:buNone/>
              <a:defRPr sz="2400"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Cons</a:t>
            </a:r>
          </a:p>
        </p:txBody>
      </p:sp>
    </p:spTree>
    <p:extLst>
      <p:ext uri="{BB962C8B-B14F-4D97-AF65-F5344CB8AC3E}">
        <p14:creationId xmlns:p14="http://schemas.microsoft.com/office/powerpoint/2010/main" val="15845926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/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églalap 11">
            <a:extLst>
              <a:ext uri="{FF2B5EF4-FFF2-40B4-BE49-F238E27FC236}">
                <a16:creationId xmlns:a16="http://schemas.microsoft.com/office/drawing/2014/main" id="{F2D6A534-DEAA-46B9-B23B-08513215076D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0ECF3ED7-581C-43C7-9B99-D24C3F229D6E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EF1C5CF4-3864-4FA2-AB64-B54FFE1188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3036066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hu-HU" dirty="0" err="1"/>
              <a:t>Pro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CE813774-910B-4ED8-8316-BDF32D992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Bild 28">
            <a:extLst>
              <a:ext uri="{FF2B5EF4-FFF2-40B4-BE49-F238E27FC236}">
                <a16:creationId xmlns:a16="http://schemas.microsoft.com/office/drawing/2014/main" id="{887EC3A1-CED3-4D9A-836A-FC923A1B0E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9914" y="155926"/>
            <a:ext cx="623454" cy="623454"/>
          </a:xfrm>
          <a:prstGeom prst="rect">
            <a:avLst/>
          </a:prstGeom>
        </p:spPr>
      </p:pic>
      <p:pic>
        <p:nvPicPr>
          <p:cNvPr id="8" name="Bild 15">
            <a:extLst>
              <a:ext uri="{FF2B5EF4-FFF2-40B4-BE49-F238E27FC236}">
                <a16:creationId xmlns:a16="http://schemas.microsoft.com/office/drawing/2014/main" id="{7F2A24CF-0010-4538-B830-BE4F088BD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868946" y="272315"/>
            <a:ext cx="623454" cy="623454"/>
          </a:xfrm>
          <a:prstGeom prst="rect">
            <a:avLst/>
          </a:prstGeom>
        </p:spPr>
      </p:pic>
      <p:sp>
        <p:nvSpPr>
          <p:cNvPr id="10" name="Szöveg helye 22">
            <a:extLst>
              <a:ext uri="{FF2B5EF4-FFF2-40B4-BE49-F238E27FC236}">
                <a16:creationId xmlns:a16="http://schemas.microsoft.com/office/drawing/2014/main" id="{C9934D8D-304E-41FA-9284-2811A8B9C0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001" y="1441765"/>
            <a:ext cx="3036065" cy="2914272"/>
          </a:xfrm>
        </p:spPr>
        <p:txBody>
          <a:bodyPr/>
          <a:lstStyle>
            <a:lvl1pPr marL="285750" indent="-285750">
              <a:buClr>
                <a:schemeClr val="bg1"/>
              </a:buClr>
              <a:buFont typeface="EON Brix Sans" panose="020B0504040000000000" pitchFamily="34" charset="-18"/>
              <a:buChar char="•"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ip</a:t>
            </a:r>
            <a:endParaRPr lang="hu-HU" dirty="0"/>
          </a:p>
          <a:p>
            <a:pPr lvl="0"/>
            <a:r>
              <a:rPr lang="hu-HU" dirty="0" err="1"/>
              <a:t>Consetetur</a:t>
            </a:r>
            <a:r>
              <a:rPr lang="hu-HU" dirty="0"/>
              <a:t> </a:t>
            </a:r>
            <a:r>
              <a:rPr lang="hu-HU" dirty="0" err="1"/>
              <a:t>sadipscing</a:t>
            </a:r>
            <a:r>
              <a:rPr lang="hu-HU" dirty="0"/>
              <a:t> </a:t>
            </a:r>
            <a:r>
              <a:rPr lang="hu-HU" dirty="0" err="1"/>
              <a:t>elitr</a:t>
            </a:r>
            <a:r>
              <a:rPr lang="hu-HU" dirty="0"/>
              <a:t> </a:t>
            </a:r>
            <a:r>
              <a:rPr lang="hu-HU" dirty="0" err="1"/>
              <a:t>sed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11" name="Szöveg helye 22">
            <a:extLst>
              <a:ext uri="{FF2B5EF4-FFF2-40B4-BE49-F238E27FC236}">
                <a16:creationId xmlns:a16="http://schemas.microsoft.com/office/drawing/2014/main" id="{80CCEEEB-2AE7-421C-8F6D-8811FE21A9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6635" y="1441765"/>
            <a:ext cx="3034800" cy="2914272"/>
          </a:xfrm>
        </p:spPr>
        <p:txBody>
          <a:bodyPr/>
          <a:lstStyle>
            <a:lvl1pPr marL="285750" indent="-285750">
              <a:buClr>
                <a:schemeClr val="bg1"/>
              </a:buClr>
              <a:buFont typeface="EON Brix Sans" panose="020B0504040000000000" pitchFamily="34" charset="-18"/>
              <a:buChar char="•"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ip</a:t>
            </a:r>
            <a:endParaRPr lang="hu-HU" dirty="0"/>
          </a:p>
          <a:p>
            <a:pPr lvl="0"/>
            <a:r>
              <a:rPr lang="hu-HU" dirty="0" err="1"/>
              <a:t>Consetetur</a:t>
            </a:r>
            <a:r>
              <a:rPr lang="hu-HU" dirty="0"/>
              <a:t> </a:t>
            </a:r>
            <a:r>
              <a:rPr lang="hu-HU" dirty="0" err="1"/>
              <a:t>sadipscing</a:t>
            </a:r>
            <a:r>
              <a:rPr lang="hu-HU" dirty="0"/>
              <a:t> </a:t>
            </a:r>
            <a:r>
              <a:rPr lang="hu-HU" dirty="0" err="1"/>
              <a:t>elitr</a:t>
            </a:r>
            <a:r>
              <a:rPr lang="hu-HU" dirty="0"/>
              <a:t> </a:t>
            </a:r>
            <a:r>
              <a:rPr lang="hu-HU" dirty="0" err="1"/>
              <a:t>sed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13" name="Szöveg helye 22">
            <a:extLst>
              <a:ext uri="{FF2B5EF4-FFF2-40B4-BE49-F238E27FC236}">
                <a16:creationId xmlns:a16="http://schemas.microsoft.com/office/drawing/2014/main" id="{C801EB1C-0A7C-49CF-8AE3-64233BCD4C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46635" y="378000"/>
            <a:ext cx="3034800" cy="720000"/>
          </a:xfrm>
        </p:spPr>
        <p:txBody>
          <a:bodyPr tIns="36000" anchor="t"/>
          <a:lstStyle>
            <a:lvl1pPr marL="0" indent="0">
              <a:buClr>
                <a:schemeClr val="bg1"/>
              </a:buClr>
              <a:buFontTx/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Cons</a:t>
            </a:r>
          </a:p>
        </p:txBody>
      </p:sp>
    </p:spTree>
    <p:extLst>
      <p:ext uri="{BB962C8B-B14F-4D97-AF65-F5344CB8AC3E}">
        <p14:creationId xmlns:p14="http://schemas.microsoft.com/office/powerpoint/2010/main" val="39745474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/Cons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A5CBEC2-202C-4AEA-91E4-27C9F0602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Pros</a:t>
            </a:r>
            <a:r>
              <a:rPr lang="hu-HU" dirty="0"/>
              <a:t>/Cons</a:t>
            </a:r>
          </a:p>
        </p:txBody>
      </p:sp>
      <p:sp>
        <p:nvSpPr>
          <p:cNvPr id="12" name="Szöveg helye 34">
            <a:extLst>
              <a:ext uri="{FF2B5EF4-FFF2-40B4-BE49-F238E27FC236}">
                <a16:creationId xmlns:a16="http://schemas.microsoft.com/office/drawing/2014/main" id="{CC8534B6-3707-420A-97D4-8A9AFED0B40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78001" y="1722011"/>
            <a:ext cx="2722552" cy="363966"/>
          </a:xfrm>
          <a:solidFill>
            <a:srgbClr val="5CC1CB"/>
          </a:solidFill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3" name="Szöveg helye 34">
            <a:extLst>
              <a:ext uri="{FF2B5EF4-FFF2-40B4-BE49-F238E27FC236}">
                <a16:creationId xmlns:a16="http://schemas.microsoft.com/office/drawing/2014/main" id="{F022CBD7-C07B-4325-8F16-E6FD6463811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261411" y="1722011"/>
            <a:ext cx="2722552" cy="363966"/>
          </a:xfrm>
          <a:solidFill>
            <a:srgbClr val="5CC1CB"/>
          </a:solidFill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4" name="Szöveg helye 34">
            <a:extLst>
              <a:ext uri="{FF2B5EF4-FFF2-40B4-BE49-F238E27FC236}">
                <a16:creationId xmlns:a16="http://schemas.microsoft.com/office/drawing/2014/main" id="{A8AC5787-CC13-4CB0-B9C9-526923C5ABE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141117" y="1722011"/>
            <a:ext cx="2722552" cy="363966"/>
          </a:xfrm>
          <a:solidFill>
            <a:srgbClr val="5CC1CB"/>
          </a:solidFill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5" name="Szöveg helye 34">
            <a:extLst>
              <a:ext uri="{FF2B5EF4-FFF2-40B4-BE49-F238E27FC236}">
                <a16:creationId xmlns:a16="http://schemas.microsoft.com/office/drawing/2014/main" id="{75B08825-6F0D-4A9E-A87C-C65CF51F54C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78000" y="3009528"/>
            <a:ext cx="2722552" cy="363966"/>
          </a:xfrm>
          <a:solidFill>
            <a:srgbClr val="B00402"/>
          </a:solidFill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6" name="Szöveg helye 34">
            <a:extLst>
              <a:ext uri="{FF2B5EF4-FFF2-40B4-BE49-F238E27FC236}">
                <a16:creationId xmlns:a16="http://schemas.microsoft.com/office/drawing/2014/main" id="{CB4BAA87-4567-413A-AB8B-C0586FCE5E6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59336" y="3009528"/>
            <a:ext cx="2722552" cy="363966"/>
          </a:xfrm>
          <a:solidFill>
            <a:srgbClr val="B00402"/>
          </a:solidFill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7" name="Szöveg helye 34">
            <a:extLst>
              <a:ext uri="{FF2B5EF4-FFF2-40B4-BE49-F238E27FC236}">
                <a16:creationId xmlns:a16="http://schemas.microsoft.com/office/drawing/2014/main" id="{A16D5140-B2D4-467E-92F7-E56AA6E9728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41117" y="3009528"/>
            <a:ext cx="2722552" cy="363966"/>
          </a:xfrm>
          <a:solidFill>
            <a:srgbClr val="B00402"/>
          </a:solidFill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079E9B42-C306-4913-89C8-490B6024F3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8000" y="1098000"/>
            <a:ext cx="1434300" cy="221645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1</a:t>
            </a:r>
          </a:p>
        </p:txBody>
      </p:sp>
      <p:sp>
        <p:nvSpPr>
          <p:cNvPr id="19" name="Szöveg helye 26">
            <a:extLst>
              <a:ext uri="{FF2B5EF4-FFF2-40B4-BE49-F238E27FC236}">
                <a16:creationId xmlns:a16="http://schemas.microsoft.com/office/drawing/2014/main" id="{9BB4C014-34BA-4AD4-ACF1-749F8C2E49C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261411" y="1098000"/>
            <a:ext cx="1434300" cy="221645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2</a:t>
            </a:r>
          </a:p>
        </p:txBody>
      </p: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1C1119BF-AE23-4C36-AFCB-8DD18BFA9C9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41117" y="1101373"/>
            <a:ext cx="1434300" cy="221645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3</a:t>
            </a:r>
          </a:p>
        </p:txBody>
      </p:sp>
      <p:cxnSp>
        <p:nvCxnSpPr>
          <p:cNvPr id="21" name="Gerade Verbindung 96">
            <a:extLst>
              <a:ext uri="{FF2B5EF4-FFF2-40B4-BE49-F238E27FC236}">
                <a16:creationId xmlns:a16="http://schemas.microsoft.com/office/drawing/2014/main" id="{90FCC074-8D2A-4170-874F-48E31A5B0A51}"/>
              </a:ext>
            </a:extLst>
          </p:cNvPr>
          <p:cNvCxnSpPr/>
          <p:nvPr userDrawn="1"/>
        </p:nvCxnSpPr>
        <p:spPr>
          <a:xfrm>
            <a:off x="3325054" y="4286447"/>
            <a:ext cx="266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zöveg helye 26">
            <a:extLst>
              <a:ext uri="{FF2B5EF4-FFF2-40B4-BE49-F238E27FC236}">
                <a16:creationId xmlns:a16="http://schemas.microsoft.com/office/drawing/2014/main" id="{94851A03-5A8B-4A35-AB46-3584ED8826EC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325055" y="4444137"/>
            <a:ext cx="2658908" cy="435726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Recommendation</a:t>
            </a:r>
            <a:endParaRPr lang="hu-HU" dirty="0"/>
          </a:p>
        </p:txBody>
      </p:sp>
      <p:sp>
        <p:nvSpPr>
          <p:cNvPr id="23" name="Szöveg helye 47">
            <a:extLst>
              <a:ext uri="{FF2B5EF4-FFF2-40B4-BE49-F238E27FC236}">
                <a16:creationId xmlns:a16="http://schemas.microsoft.com/office/drawing/2014/main" id="{A465C0F2-C8BC-4D37-9732-BFB4CDC08E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744" y="2085977"/>
            <a:ext cx="1793875" cy="923551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4" name="Szöveg helye 47">
            <a:extLst>
              <a:ext uri="{FF2B5EF4-FFF2-40B4-BE49-F238E27FC236}">
                <a16:creationId xmlns:a16="http://schemas.microsoft.com/office/drawing/2014/main" id="{22A09F3D-3485-4DEB-AB3C-18B093E67DE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65444" y="2085977"/>
            <a:ext cx="1793875" cy="923551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5" name="Szöveg helye 47">
            <a:extLst>
              <a:ext uri="{FF2B5EF4-FFF2-40B4-BE49-F238E27FC236}">
                <a16:creationId xmlns:a16="http://schemas.microsoft.com/office/drawing/2014/main" id="{4DC87222-D431-4760-A287-40D7C6C5A1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42747" y="2085976"/>
            <a:ext cx="1793875" cy="923551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6" name="Szöveg helye 47">
            <a:extLst>
              <a:ext uri="{FF2B5EF4-FFF2-40B4-BE49-F238E27FC236}">
                <a16:creationId xmlns:a16="http://schemas.microsoft.com/office/drawing/2014/main" id="{AB3896C6-51A7-4530-8C26-30F10BDF2B5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89123" y="3373494"/>
            <a:ext cx="1793875" cy="923551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7" name="Szöveg helye 47">
            <a:extLst>
              <a:ext uri="{FF2B5EF4-FFF2-40B4-BE49-F238E27FC236}">
                <a16:creationId xmlns:a16="http://schemas.microsoft.com/office/drawing/2014/main" id="{BD12802A-F7DB-4B31-8581-908C100514F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259336" y="3380807"/>
            <a:ext cx="1793875" cy="923551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8" name="Szöveg helye 47">
            <a:extLst>
              <a:ext uri="{FF2B5EF4-FFF2-40B4-BE49-F238E27FC236}">
                <a16:creationId xmlns:a16="http://schemas.microsoft.com/office/drawing/2014/main" id="{D263DD93-E05C-4362-A133-928FC5F3B14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144088" y="3380807"/>
            <a:ext cx="1793875" cy="923551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57D0A47F-8E95-40EC-84CA-094BB15CC5A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5925" y="1342677"/>
            <a:ext cx="1434300" cy="340934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52E39F6B-4825-4045-8B9F-BB22BC12DB2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59336" y="1342677"/>
            <a:ext cx="1434300" cy="340934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1E43CF48-9B1D-4063-9421-73C3BAEE3209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139042" y="1346050"/>
            <a:ext cx="1434300" cy="340934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20513473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/Cons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7D3FDDD0-A16A-4B53-8BB3-66E937E35B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999" y="3730589"/>
            <a:ext cx="7361063" cy="1194916"/>
          </a:xfrm>
          <a:solidFill>
            <a:srgbClr val="EA1C0A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hu-HU" dirty="0" err="1"/>
              <a:t>Next</a:t>
            </a:r>
            <a:r>
              <a:rPr lang="hu-HU" dirty="0"/>
              <a:t> </a:t>
            </a:r>
            <a:r>
              <a:rPr lang="hu-HU" dirty="0" err="1"/>
              <a:t>steps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20" name="Téglalap 19">
            <a:extLst>
              <a:ext uri="{FF2B5EF4-FFF2-40B4-BE49-F238E27FC236}">
                <a16:creationId xmlns:a16="http://schemas.microsoft.com/office/drawing/2014/main" id="{4F5B6150-33D6-4F1D-B1FC-8C89DE4759D7}"/>
              </a:ext>
            </a:extLst>
          </p:cNvPr>
          <p:cNvSpPr/>
          <p:nvPr userDrawn="1"/>
        </p:nvSpPr>
        <p:spPr>
          <a:xfrm>
            <a:off x="5285820" y="1185194"/>
            <a:ext cx="2453910" cy="2552858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5DF78BC4-3DCE-4BDF-8860-BC83FF513A0A}"/>
              </a:ext>
            </a:extLst>
          </p:cNvPr>
          <p:cNvSpPr/>
          <p:nvPr userDrawn="1"/>
        </p:nvSpPr>
        <p:spPr>
          <a:xfrm>
            <a:off x="378000" y="1178310"/>
            <a:ext cx="2453910" cy="2552858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72073205-B0A6-472D-8C0E-5DB0B16200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2493724"/>
            <a:ext cx="2453910" cy="1125848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Con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F0022A5C-9342-4388-8B14-CF6E965516EA}"/>
              </a:ext>
            </a:extLst>
          </p:cNvPr>
          <p:cNvSpPr/>
          <p:nvPr userDrawn="1"/>
        </p:nvSpPr>
        <p:spPr>
          <a:xfrm>
            <a:off x="2831910" y="1185194"/>
            <a:ext cx="2453910" cy="2552858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FC721A0E-FA99-4C0A-AF5E-5ABF79F6DC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31910" y="1187791"/>
            <a:ext cx="2453910" cy="130853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2</a:t>
            </a:r>
          </a:p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117C6257-8A2E-4284-9330-FFC20CFE52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85820" y="1187791"/>
            <a:ext cx="2453910" cy="130853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3</a:t>
            </a:r>
          </a:p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5" name="Szöveg helye 13">
            <a:extLst>
              <a:ext uri="{FF2B5EF4-FFF2-40B4-BE49-F238E27FC236}">
                <a16:creationId xmlns:a16="http://schemas.microsoft.com/office/drawing/2014/main" id="{DDFCB49B-F3A3-4C57-8BE0-4F2AC0C0C0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31910" y="2492424"/>
            <a:ext cx="2453910" cy="1238743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Con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7" name="Szöveg helye 13">
            <a:extLst>
              <a:ext uri="{FF2B5EF4-FFF2-40B4-BE49-F238E27FC236}">
                <a16:creationId xmlns:a16="http://schemas.microsoft.com/office/drawing/2014/main" id="{AF1EEE53-B709-4F7B-833C-914E229475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5820" y="2491125"/>
            <a:ext cx="2453910" cy="124004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Con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1" name="Háromszög 20">
            <a:extLst>
              <a:ext uri="{FF2B5EF4-FFF2-40B4-BE49-F238E27FC236}">
                <a16:creationId xmlns:a16="http://schemas.microsoft.com/office/drawing/2014/main" id="{960FAA98-474C-41C7-8D8F-F9D3EE82939D}"/>
              </a:ext>
            </a:extLst>
          </p:cNvPr>
          <p:cNvSpPr/>
          <p:nvPr userDrawn="1"/>
        </p:nvSpPr>
        <p:spPr>
          <a:xfrm rot="10800000">
            <a:off x="1281667" y="3731168"/>
            <a:ext cx="398612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2" name="Háromszög 21">
            <a:extLst>
              <a:ext uri="{FF2B5EF4-FFF2-40B4-BE49-F238E27FC236}">
                <a16:creationId xmlns:a16="http://schemas.microsoft.com/office/drawing/2014/main" id="{B483B562-A00F-4C87-A3DD-E79C6B2E7D75}"/>
              </a:ext>
            </a:extLst>
          </p:cNvPr>
          <p:cNvSpPr/>
          <p:nvPr userDrawn="1"/>
        </p:nvSpPr>
        <p:spPr>
          <a:xfrm rot="10800000">
            <a:off x="3735577" y="3735781"/>
            <a:ext cx="398612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3" name="Háromszög 22">
            <a:extLst>
              <a:ext uri="{FF2B5EF4-FFF2-40B4-BE49-F238E27FC236}">
                <a16:creationId xmlns:a16="http://schemas.microsoft.com/office/drawing/2014/main" id="{6DA8B880-7CE3-461B-BDB8-541C4671D96D}"/>
              </a:ext>
            </a:extLst>
          </p:cNvPr>
          <p:cNvSpPr/>
          <p:nvPr userDrawn="1"/>
        </p:nvSpPr>
        <p:spPr>
          <a:xfrm rot="10800000">
            <a:off x="6370118" y="3735781"/>
            <a:ext cx="398612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AFEE282-FBC6-4248-886E-6648B1BF1B09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Pros</a:t>
            </a:r>
            <a:r>
              <a:rPr lang="hu-HU" dirty="0"/>
              <a:t> / Cons</a:t>
            </a:r>
            <a:endParaRPr lang="en-GB" dirty="0"/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F3BF1C69-E907-4D32-8915-06452BBF29BD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6" name="Szöveg helye 13">
            <a:extLst>
              <a:ext uri="{FF2B5EF4-FFF2-40B4-BE49-F238E27FC236}">
                <a16:creationId xmlns:a16="http://schemas.microsoft.com/office/drawing/2014/main" id="{FFC8F983-82CF-4213-B4AF-031ED73EB2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3859" y="1180451"/>
            <a:ext cx="2453910" cy="130853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1</a:t>
            </a:r>
          </a:p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2E61EE38-F2F5-4783-9DE6-72298C2F61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F112C04-A718-415B-B5D8-F96D083E3872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8" name="Dia számának helye 4">
            <a:extLst>
              <a:ext uri="{FF2B5EF4-FFF2-40B4-BE49-F238E27FC236}">
                <a16:creationId xmlns:a16="http://schemas.microsoft.com/office/drawing/2014/main" id="{FFE5E9F3-4A60-4E50-B5D2-DAEAF72B4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48803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nce/Ri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8">
            <a:extLst>
              <a:ext uri="{FF2B5EF4-FFF2-40B4-BE49-F238E27FC236}">
                <a16:creationId xmlns:a16="http://schemas.microsoft.com/office/drawing/2014/main" id="{A0B87001-D333-42D2-B755-C471399CF3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350" y="1951038"/>
            <a:ext cx="2095500" cy="2314575"/>
          </a:xfrm>
          <a:solidFill>
            <a:srgbClr val="EA1C0A"/>
          </a:solidFill>
        </p:spPr>
        <p:txBody>
          <a:bodyPr lIns="108000" tIns="108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hance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0" name="Szöveg helye 8">
            <a:extLst>
              <a:ext uri="{FF2B5EF4-FFF2-40B4-BE49-F238E27FC236}">
                <a16:creationId xmlns:a16="http://schemas.microsoft.com/office/drawing/2014/main" id="{4FE11572-C698-4416-B073-3D2FA91FD4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2000" y="1951037"/>
            <a:ext cx="2095500" cy="2314575"/>
          </a:xfrm>
          <a:solidFill>
            <a:srgbClr val="E3E000"/>
          </a:solidFill>
        </p:spPr>
        <p:txBody>
          <a:bodyPr lIns="108000" tIns="108000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defRPr>
                <a:solidFill>
                  <a:srgbClr val="B00402"/>
                </a:solidFill>
              </a:defRPr>
            </a:lvl4pPr>
            <a:lvl5pPr>
              <a:lnSpc>
                <a:spcPct val="100000"/>
              </a:lnSpc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Risk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1" name="Háromszög 10">
            <a:extLst>
              <a:ext uri="{FF2B5EF4-FFF2-40B4-BE49-F238E27FC236}">
                <a16:creationId xmlns:a16="http://schemas.microsoft.com/office/drawing/2014/main" id="{62328B14-3918-4955-910D-A6F5A8AAD7D3}"/>
              </a:ext>
            </a:extLst>
          </p:cNvPr>
          <p:cNvSpPr/>
          <p:nvPr userDrawn="1"/>
        </p:nvSpPr>
        <p:spPr>
          <a:xfrm>
            <a:off x="1489794" y="1740090"/>
            <a:ext cx="398612" cy="210948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" name="Háromszög 12">
            <a:extLst>
              <a:ext uri="{FF2B5EF4-FFF2-40B4-BE49-F238E27FC236}">
                <a16:creationId xmlns:a16="http://schemas.microsoft.com/office/drawing/2014/main" id="{A757BE0D-571D-4155-8CBA-6AF03338478A}"/>
              </a:ext>
            </a:extLst>
          </p:cNvPr>
          <p:cNvSpPr/>
          <p:nvPr userDrawn="1"/>
        </p:nvSpPr>
        <p:spPr>
          <a:xfrm>
            <a:off x="3980444" y="1740089"/>
            <a:ext cx="398612" cy="210948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93BE8CF-586E-470C-9401-C82EFF8CA265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hance</a:t>
            </a:r>
            <a:r>
              <a:rPr lang="hu-HU" dirty="0"/>
              <a:t> / </a:t>
            </a:r>
            <a:r>
              <a:rPr lang="hu-HU" dirty="0" err="1"/>
              <a:t>Risk</a:t>
            </a:r>
            <a:endParaRPr lang="en-GB" dirty="0"/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7510E6F2-B814-46E8-8CFE-39EF3B97C067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2" name="Dátum helye 2">
            <a:extLst>
              <a:ext uri="{FF2B5EF4-FFF2-40B4-BE49-F238E27FC236}">
                <a16:creationId xmlns:a16="http://schemas.microsoft.com/office/drawing/2014/main" id="{D22FC769-D832-4156-ABF1-331CDE09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DD8FE65-5C0C-4D76-85EF-1B34B92461D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4" name="Dia számának helye 4">
            <a:extLst>
              <a:ext uri="{FF2B5EF4-FFF2-40B4-BE49-F238E27FC236}">
                <a16:creationId xmlns:a16="http://schemas.microsoft.com/office/drawing/2014/main" id="{7A7E1F19-D4CD-4522-92DD-8ECE6690B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164297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with conclusion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0271838-57CD-4C5F-AFC4-0543EB17B3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Matrix</a:t>
            </a:r>
            <a:r>
              <a:rPr lang="hu-HU" dirty="0"/>
              <a:t> </a:t>
            </a:r>
            <a:r>
              <a:rPr lang="hu-HU" dirty="0" err="1"/>
              <a:t>with</a:t>
            </a:r>
            <a:r>
              <a:rPr lang="hu-HU" dirty="0"/>
              <a:t> </a:t>
            </a:r>
            <a:r>
              <a:rPr lang="hu-HU" dirty="0" err="1"/>
              <a:t>conclusion</a:t>
            </a:r>
            <a:r>
              <a:rPr lang="hu-HU" dirty="0"/>
              <a:t> </a:t>
            </a:r>
            <a:r>
              <a:rPr lang="hu-HU" dirty="0" err="1"/>
              <a:t>boxe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37A7842-ACD8-4A1B-A7FA-4FBBC2DEBE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26">
            <a:extLst>
              <a:ext uri="{FF2B5EF4-FFF2-40B4-BE49-F238E27FC236}">
                <a16:creationId xmlns:a16="http://schemas.microsoft.com/office/drawing/2014/main" id="{DF5E4D67-46EE-469F-B9CD-404A311542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545317"/>
            <a:ext cx="1434300" cy="107175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sp>
        <p:nvSpPr>
          <p:cNvPr id="7" name="Szöveg helye 26">
            <a:extLst>
              <a:ext uri="{FF2B5EF4-FFF2-40B4-BE49-F238E27FC236}">
                <a16:creationId xmlns:a16="http://schemas.microsoft.com/office/drawing/2014/main" id="{0EBE1469-4EDE-4021-9A91-0F791E7914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2622330"/>
            <a:ext cx="1434300" cy="107175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sp>
        <p:nvSpPr>
          <p:cNvPr id="13" name="Line 39">
            <a:extLst>
              <a:ext uri="{FF2B5EF4-FFF2-40B4-BE49-F238E27FC236}">
                <a16:creationId xmlns:a16="http://schemas.microsoft.com/office/drawing/2014/main" id="{98151304-D9E4-4808-84D5-8B9B183EA95A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1734207" y="2622327"/>
            <a:ext cx="2419569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15" name="Line 39">
            <a:extLst>
              <a:ext uri="{FF2B5EF4-FFF2-40B4-BE49-F238E27FC236}">
                <a16:creationId xmlns:a16="http://schemas.microsoft.com/office/drawing/2014/main" id="{87AA5CD8-A6AA-4097-8308-97786E8EB2F3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4566745" y="2622327"/>
            <a:ext cx="2419569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16" name="Line 39">
            <a:extLst>
              <a:ext uri="{FF2B5EF4-FFF2-40B4-BE49-F238E27FC236}">
                <a16:creationId xmlns:a16="http://schemas.microsoft.com/office/drawing/2014/main" id="{A4FDAC70-8C5D-4B21-BE5E-CD4BCF10D0B8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7620000" y="2622330"/>
            <a:ext cx="138976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pic>
        <p:nvPicPr>
          <p:cNvPr id="17" name="Bild 39" descr="EON_UI_Icon_Arrow_Right_48x48.pdf">
            <a:extLst>
              <a:ext uri="{FF2B5EF4-FFF2-40B4-BE49-F238E27FC236}">
                <a16:creationId xmlns:a16="http://schemas.microsoft.com/office/drawing/2014/main" id="{F46A3C83-FB6F-452F-912A-D3B49E7D25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9892" y="2420414"/>
            <a:ext cx="393316" cy="393316"/>
          </a:xfrm>
          <a:prstGeom prst="rect">
            <a:avLst/>
          </a:prstGeom>
        </p:spPr>
      </p:pic>
      <p:sp>
        <p:nvSpPr>
          <p:cNvPr id="18" name="Line 39">
            <a:extLst>
              <a:ext uri="{FF2B5EF4-FFF2-40B4-BE49-F238E27FC236}">
                <a16:creationId xmlns:a16="http://schemas.microsoft.com/office/drawing/2014/main" id="{4DD43091-5D72-41B1-B403-359BCCBCC57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240681" y="1545317"/>
            <a:ext cx="0" cy="2143510"/>
          </a:xfrm>
          <a:prstGeom prst="line">
            <a:avLst/>
          </a:prstGeom>
          <a:noFill/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19" name="Textfeld 28">
            <a:extLst>
              <a:ext uri="{FF2B5EF4-FFF2-40B4-BE49-F238E27FC236}">
                <a16:creationId xmlns:a16="http://schemas.microsoft.com/office/drawing/2014/main" id="{F407CEA3-B49D-4439-A2C1-03C82E85CD11}"/>
              </a:ext>
            </a:extLst>
          </p:cNvPr>
          <p:cNvSpPr txBox="1"/>
          <p:nvPr userDrawn="1"/>
        </p:nvSpPr>
        <p:spPr>
          <a:xfrm>
            <a:off x="1641442" y="3694085"/>
            <a:ext cx="2624883" cy="787424"/>
          </a:xfrm>
          <a:prstGeom prst="rect">
            <a:avLst/>
          </a:prstGeom>
          <a:solidFill>
            <a:srgbClr val="5CC1CB"/>
          </a:solidFill>
        </p:spPr>
        <p:txBody>
          <a:bodyPr wrap="square" lIns="72000" tIns="0" rIns="0" bIns="0" rtlCol="0">
            <a:noAutofit/>
          </a:bodyPr>
          <a:lstStyle/>
          <a:p>
            <a:pPr marL="87234" indent="-87234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0" name="Textfeld 28">
            <a:extLst>
              <a:ext uri="{FF2B5EF4-FFF2-40B4-BE49-F238E27FC236}">
                <a16:creationId xmlns:a16="http://schemas.microsoft.com/office/drawing/2014/main" id="{F8E006F3-8470-4FEE-8B29-1791F53D8437}"/>
              </a:ext>
            </a:extLst>
          </p:cNvPr>
          <p:cNvSpPr txBox="1"/>
          <p:nvPr userDrawn="1"/>
        </p:nvSpPr>
        <p:spPr>
          <a:xfrm>
            <a:off x="4458697" y="3688827"/>
            <a:ext cx="2624883" cy="787424"/>
          </a:xfrm>
          <a:prstGeom prst="rect">
            <a:avLst/>
          </a:prstGeom>
          <a:solidFill>
            <a:srgbClr val="E3E000"/>
          </a:solidFill>
        </p:spPr>
        <p:txBody>
          <a:bodyPr wrap="square" lIns="72000" tIns="0" rIns="0" bIns="0" rtlCol="0">
            <a:noAutofit/>
          </a:bodyPr>
          <a:lstStyle/>
          <a:p>
            <a:pPr marL="87234" indent="-87234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accent2"/>
              </a:solidFill>
            </a:endParaRPr>
          </a:p>
        </p:txBody>
      </p:sp>
      <p:sp>
        <p:nvSpPr>
          <p:cNvPr id="23" name="Háromszög 22">
            <a:extLst>
              <a:ext uri="{FF2B5EF4-FFF2-40B4-BE49-F238E27FC236}">
                <a16:creationId xmlns:a16="http://schemas.microsoft.com/office/drawing/2014/main" id="{CF1FEA49-8204-4E43-8AFC-ABAD9E75BF74}"/>
              </a:ext>
            </a:extLst>
          </p:cNvPr>
          <p:cNvSpPr/>
          <p:nvPr userDrawn="1"/>
        </p:nvSpPr>
        <p:spPr>
          <a:xfrm rot="10800000">
            <a:off x="2609612" y="3688827"/>
            <a:ext cx="668757" cy="246993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Háromszög 23">
            <a:extLst>
              <a:ext uri="{FF2B5EF4-FFF2-40B4-BE49-F238E27FC236}">
                <a16:creationId xmlns:a16="http://schemas.microsoft.com/office/drawing/2014/main" id="{F53A8391-8A83-4278-A775-E1855F3B66BE}"/>
              </a:ext>
            </a:extLst>
          </p:cNvPr>
          <p:cNvSpPr/>
          <p:nvPr userDrawn="1"/>
        </p:nvSpPr>
        <p:spPr>
          <a:xfrm rot="10800000">
            <a:off x="5442150" y="3688827"/>
            <a:ext cx="668757" cy="246993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3" name="Szöveg helye 47">
            <a:extLst>
              <a:ext uri="{FF2B5EF4-FFF2-40B4-BE49-F238E27FC236}">
                <a16:creationId xmlns:a16="http://schemas.microsoft.com/office/drawing/2014/main" id="{FFF18827-F7CE-407F-A434-5F08A8D300A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0000" y="1638248"/>
            <a:ext cx="1389762" cy="782166"/>
          </a:xfrm>
        </p:spPr>
        <p:txBody>
          <a:bodyPr lIns="108000" tIns="72000"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77800" indent="182563"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buFont typeface="EON Brix Sans" panose="020B0504040000000000" pitchFamily="34" charset="-18"/>
              <a:buChar char="–"/>
              <a:defRPr sz="1400">
                <a:solidFill>
                  <a:schemeClr val="tx1"/>
                </a:solidFill>
              </a:defRPr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>
                <a:solidFill>
                  <a:schemeClr val="bg1"/>
                </a:solidFill>
              </a:defRPr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34" name="Szöveg helye 47">
            <a:extLst>
              <a:ext uri="{FF2B5EF4-FFF2-40B4-BE49-F238E27FC236}">
                <a16:creationId xmlns:a16="http://schemas.microsoft.com/office/drawing/2014/main" id="{48AC7AC8-9F0B-4610-A0F8-1E1187A2B3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20000" y="2813730"/>
            <a:ext cx="1389762" cy="782166"/>
          </a:xfrm>
        </p:spPr>
        <p:txBody>
          <a:bodyPr lIns="108000" tIns="72000"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77800" indent="182563"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buFont typeface="EON Brix Sans" panose="020B0504040000000000" pitchFamily="34" charset="-18"/>
              <a:buChar char="–"/>
              <a:defRPr sz="1400">
                <a:solidFill>
                  <a:schemeClr val="tx1"/>
                </a:solidFill>
              </a:defRPr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>
                <a:solidFill>
                  <a:schemeClr val="bg1"/>
                </a:solidFill>
              </a:defRPr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35" name="Szöveg helye 47">
            <a:extLst>
              <a:ext uri="{FF2B5EF4-FFF2-40B4-BE49-F238E27FC236}">
                <a16:creationId xmlns:a16="http://schemas.microsoft.com/office/drawing/2014/main" id="{4F6A5B92-3A0B-4C62-A865-94D9B3033F2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2621582"/>
            <a:ext cx="1438680" cy="1072503"/>
          </a:xfrm>
        </p:spPr>
        <p:txBody>
          <a:bodyPr lIns="108000" tIns="72000" anchor="ctr"/>
          <a:lstStyle>
            <a:lvl3pPr marL="0" indent="0" algn="ctr"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j-lt"/>
              </a:defRPr>
            </a:lvl3pPr>
            <a:lvl4pPr marL="177800" indent="182563"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buFont typeface="EON Brix Sans" panose="020B0504040000000000" pitchFamily="34" charset="-18"/>
              <a:buChar char="–"/>
              <a:defRPr sz="1400">
                <a:solidFill>
                  <a:schemeClr val="tx1"/>
                </a:solidFill>
              </a:defRPr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>
                <a:solidFill>
                  <a:schemeClr val="bg1"/>
                </a:solidFill>
              </a:defRPr>
            </a:lvl5pPr>
          </a:lstStyle>
          <a:p>
            <a:pPr lvl="2"/>
            <a:r>
              <a:rPr lang="hu-HU" dirty="0"/>
              <a:t>Text</a:t>
            </a:r>
          </a:p>
        </p:txBody>
      </p:sp>
      <p:sp>
        <p:nvSpPr>
          <p:cNvPr id="36" name="Szöveg helye 47">
            <a:extLst>
              <a:ext uri="{FF2B5EF4-FFF2-40B4-BE49-F238E27FC236}">
                <a16:creationId xmlns:a16="http://schemas.microsoft.com/office/drawing/2014/main" id="{1916497D-0906-4B5B-B6A4-981213C2F8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6570" y="1540807"/>
            <a:ext cx="1438680" cy="1072503"/>
          </a:xfrm>
        </p:spPr>
        <p:txBody>
          <a:bodyPr lIns="108000" tIns="72000" anchor="ctr"/>
          <a:lstStyle>
            <a:lvl3pPr marL="0" indent="0" algn="ctr"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j-lt"/>
              </a:defRPr>
            </a:lvl3pPr>
            <a:lvl4pPr marL="177800" indent="182563"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buFont typeface="EON Brix Sans" panose="020B0504040000000000" pitchFamily="34" charset="-18"/>
              <a:buChar char="–"/>
              <a:defRPr sz="1400">
                <a:solidFill>
                  <a:schemeClr val="tx1"/>
                </a:solidFill>
              </a:defRPr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>
                <a:solidFill>
                  <a:schemeClr val="bg1"/>
                </a:solidFill>
              </a:defRPr>
            </a:lvl5pPr>
          </a:lstStyle>
          <a:p>
            <a:pPr lvl="2"/>
            <a:r>
              <a:rPr lang="hu-HU" dirty="0"/>
              <a:t>Text</a:t>
            </a: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CF84008D-ADB1-4B90-8CA7-14EB6DF5320D}"/>
              </a:ext>
            </a:extLst>
          </p:cNvPr>
          <p:cNvSpPr/>
          <p:nvPr userDrawn="1"/>
        </p:nvSpPr>
        <p:spPr>
          <a:xfrm>
            <a:off x="1641442" y="1600199"/>
            <a:ext cx="2624883" cy="20990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9" name="Téglalap 38">
            <a:extLst>
              <a:ext uri="{FF2B5EF4-FFF2-40B4-BE49-F238E27FC236}">
                <a16:creationId xmlns:a16="http://schemas.microsoft.com/office/drawing/2014/main" id="{1E295B93-2B4E-4FF2-882C-F71FA15E21C6}"/>
              </a:ext>
            </a:extLst>
          </p:cNvPr>
          <p:cNvSpPr/>
          <p:nvPr userDrawn="1"/>
        </p:nvSpPr>
        <p:spPr>
          <a:xfrm>
            <a:off x="4464086" y="1589808"/>
            <a:ext cx="2624883" cy="20990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0" name="Line 39">
            <a:extLst>
              <a:ext uri="{FF2B5EF4-FFF2-40B4-BE49-F238E27FC236}">
                <a16:creationId xmlns:a16="http://schemas.microsoft.com/office/drawing/2014/main" id="{2F50BB8D-8FA0-4174-A022-A5518AE7385A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1665229" y="2645015"/>
            <a:ext cx="260109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41" name="Line 39">
            <a:extLst>
              <a:ext uri="{FF2B5EF4-FFF2-40B4-BE49-F238E27FC236}">
                <a16:creationId xmlns:a16="http://schemas.microsoft.com/office/drawing/2014/main" id="{7C4584F2-8ACD-4351-AD06-47EED20D640D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4475979" y="2645015"/>
            <a:ext cx="260109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42" name="Szöveg helye 26">
            <a:extLst>
              <a:ext uri="{FF2B5EF4-FFF2-40B4-BE49-F238E27FC236}">
                <a16:creationId xmlns:a16="http://schemas.microsoft.com/office/drawing/2014/main" id="{16C2A8D8-2AF3-4F7E-8CE1-CEAB57AD81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46509" y="1600198"/>
            <a:ext cx="2619815" cy="955965"/>
          </a:xfrm>
          <a:noFill/>
        </p:spPr>
        <p:txBody>
          <a:bodyPr tIns="36000" anchor="t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3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3pPr>
            <a:lvl4pPr marL="538163" indent="-355600"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4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43" name="Szöveg helye 26">
            <a:extLst>
              <a:ext uri="{FF2B5EF4-FFF2-40B4-BE49-F238E27FC236}">
                <a16:creationId xmlns:a16="http://schemas.microsoft.com/office/drawing/2014/main" id="{7D3BFBE2-D75F-4413-833B-6809CD32C60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643975" y="2713903"/>
            <a:ext cx="2619815" cy="955965"/>
          </a:xfrm>
          <a:noFill/>
        </p:spPr>
        <p:txBody>
          <a:bodyPr tIns="36000" anchor="t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3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4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44" name="Szöveg helye 26">
            <a:extLst>
              <a:ext uri="{FF2B5EF4-FFF2-40B4-BE49-F238E27FC236}">
                <a16:creationId xmlns:a16="http://schemas.microsoft.com/office/drawing/2014/main" id="{FE2C0714-31B2-4C95-A2AC-6CB17F4F75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75979" y="1591539"/>
            <a:ext cx="2619815" cy="955965"/>
          </a:xfrm>
          <a:noFill/>
        </p:spPr>
        <p:txBody>
          <a:bodyPr tIns="36000" anchor="t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3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4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45" name="Szöveg helye 26">
            <a:extLst>
              <a:ext uri="{FF2B5EF4-FFF2-40B4-BE49-F238E27FC236}">
                <a16:creationId xmlns:a16="http://schemas.microsoft.com/office/drawing/2014/main" id="{9D9805EB-8A0E-4437-8467-6946BC19769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69301" y="2726830"/>
            <a:ext cx="2619815" cy="955965"/>
          </a:xfrm>
          <a:noFill/>
        </p:spPr>
        <p:txBody>
          <a:bodyPr tIns="36000" anchor="t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3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rgbClr val="EA1C0A"/>
              </a:buClr>
              <a:defRPr sz="1100">
                <a:solidFill>
                  <a:schemeClr val="bg1"/>
                </a:solidFill>
              </a:defRPr>
            </a:lvl4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46" name="Szöveg helye 26">
            <a:extLst>
              <a:ext uri="{FF2B5EF4-FFF2-40B4-BE49-F238E27FC236}">
                <a16:creationId xmlns:a16="http://schemas.microsoft.com/office/drawing/2014/main" id="{41F71B86-EA4D-44A1-9343-7F6E6F4FAD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42284" y="3688825"/>
            <a:ext cx="2619815" cy="786642"/>
          </a:xfrm>
          <a:noFill/>
        </p:spPr>
        <p:txBody>
          <a:bodyPr tIns="36000" anchor="t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3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47" name="Szöveg helye 26">
            <a:extLst>
              <a:ext uri="{FF2B5EF4-FFF2-40B4-BE49-F238E27FC236}">
                <a16:creationId xmlns:a16="http://schemas.microsoft.com/office/drawing/2014/main" id="{F637A3E2-C801-4595-896E-A46EC079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75979" y="3682795"/>
            <a:ext cx="2619815" cy="798714"/>
          </a:xfrm>
          <a:noFill/>
        </p:spPr>
        <p:txBody>
          <a:bodyPr tIns="36000" anchor="t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3pPr>
              <a:lnSpc>
                <a:spcPct val="100000"/>
              </a:lnSpc>
              <a:buClr>
                <a:schemeClr val="tx1"/>
              </a:buClr>
              <a:defRPr sz="1100"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buClr>
                <a:srgbClr val="EA1C0A"/>
              </a:buClr>
              <a:defRPr sz="1100">
                <a:solidFill>
                  <a:srgbClr val="B00402"/>
                </a:solidFill>
              </a:defRPr>
            </a:lvl4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30615808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Dátum helye 2">
            <a:extLst>
              <a:ext uri="{FF2B5EF4-FFF2-40B4-BE49-F238E27FC236}">
                <a16:creationId xmlns:a16="http://schemas.microsoft.com/office/drawing/2014/main" id="{99D2B6C3-B63B-495F-9D22-1302B176AD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87718A54-FABF-4FB7-9998-D168DDA1E11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0" name="Dia számának helye 4">
            <a:extLst>
              <a:ext uri="{FF2B5EF4-FFF2-40B4-BE49-F238E27FC236}">
                <a16:creationId xmlns:a16="http://schemas.microsoft.com/office/drawing/2014/main" id="{AEC45A83-F5DD-45FD-AA98-AFA9B43DD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894239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F5000C-4BAF-4185-8A55-A7ABF002E1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Matrix</a:t>
            </a:r>
            <a:r>
              <a:rPr lang="hu-HU" dirty="0"/>
              <a:t> 3X3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1AC10C44-F7D1-47E9-9208-CC80C3AA7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DEADA-0D64-4B31-A0EC-3660F92576F8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1213F41E-4786-471B-A204-A3C5ACC9A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0D2DA43E-C56D-47BB-B7DD-D4AA0A9FE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14011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r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5C40CD5-FC28-4F35-9207-93F6805B6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hu-HU" dirty="0" err="1"/>
              <a:t>Timer</a:t>
            </a:r>
            <a:r>
              <a:rPr lang="hu-HU" dirty="0"/>
              <a:t> - </a:t>
            </a:r>
            <a:r>
              <a:rPr lang="hu-HU" dirty="0" err="1"/>
              <a:t>animated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A8F80DB6-629F-4EAA-8855-DE2C9D79F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10F50-F8BA-4220-8D71-CFC29FA73D39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8AED76E7-9352-4D4E-8F98-CF05720CE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BA3D1E6-0FCD-4FA9-9A54-3C4327E3B8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26">
            <a:extLst>
              <a:ext uri="{FF2B5EF4-FFF2-40B4-BE49-F238E27FC236}">
                <a16:creationId xmlns:a16="http://schemas.microsoft.com/office/drawing/2014/main" id="{AE4F27B6-86AD-43F0-9305-B7A760AC25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43" y="1505275"/>
            <a:ext cx="1434300" cy="435726"/>
          </a:xfrm>
          <a:solidFill>
            <a:srgbClr val="EA1C0A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</p:txBody>
      </p:sp>
      <p:sp>
        <p:nvSpPr>
          <p:cNvPr id="7" name="Szöveg helye 26">
            <a:extLst>
              <a:ext uri="{FF2B5EF4-FFF2-40B4-BE49-F238E27FC236}">
                <a16:creationId xmlns:a16="http://schemas.microsoft.com/office/drawing/2014/main" id="{B3E4D7B9-BDC5-496B-B295-036374DD28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15032" y="1505275"/>
            <a:ext cx="1434300" cy="435726"/>
          </a:xfrm>
          <a:solidFill>
            <a:srgbClr val="EA1C0A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425236F0-33CD-48AB-AC63-7945854938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97921" y="1505275"/>
            <a:ext cx="1434300" cy="435726"/>
          </a:xfrm>
          <a:solidFill>
            <a:srgbClr val="EA1C0A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F8B76546-164F-4ED1-8AE1-A5F7B006B4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80810" y="1505275"/>
            <a:ext cx="1434300" cy="435726"/>
          </a:xfrm>
          <a:solidFill>
            <a:srgbClr val="EA1C0A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238547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ags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2559B17-C5DA-49E2-A012-A2C6F47F7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Flags</a:t>
            </a:r>
            <a:r>
              <a:rPr lang="hu-HU" dirty="0"/>
              <a:t> 1/4</a:t>
            </a:r>
            <a:br>
              <a:rPr lang="hu-HU" dirty="0"/>
            </a:b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D01558B4-4B95-4B0B-B09D-B31894EF7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64408-817E-4765-A14D-E704BC6AC370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563A3A99-43CA-42C4-B474-30F559B14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3291DEF1-3844-40EA-9AEC-81888E7CE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603333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EADD477-4DA8-4F91-A1A2-21658AB73D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Flags</a:t>
            </a:r>
            <a:r>
              <a:rPr lang="hu-HU" dirty="0"/>
              <a:t> 2/4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5F3410C0-3BE9-4E03-8741-63B6DC982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86AF2-EC31-466D-B572-137003BC429A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5B0A52F9-C9E5-4A6A-A623-2BC839931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F3D0D8BA-25D0-4808-B5E4-E8B50AFE1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419315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40310DB-6FDF-464F-BDE3-3AF5391839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Flags</a:t>
            </a:r>
            <a:r>
              <a:rPr lang="hu-HU" dirty="0"/>
              <a:t> 3/4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239DA1A-F72F-49B6-97E2-E7EFFDE88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7426D-B212-4987-B1D4-581642F237D7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930EA447-6304-41B0-88BE-69D1CE290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734977A-DC97-482B-BE34-F8596FB2C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566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FB26171-8869-4C4B-AF4C-AF7B315615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Flags</a:t>
            </a:r>
            <a:r>
              <a:rPr lang="hu-HU" dirty="0"/>
              <a:t> 4/4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789224B-0CC4-4285-9928-9CCC1D67E5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BDCF9-38FB-4050-87DF-8C5FD1C41373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12B348B0-EF5C-45C4-92A8-30F8B5542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23358CBF-C2B7-48BE-979B-2401657A8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630406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13B87D9-1FD8-4193-96CB-A6B7D60549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World map</a:t>
            </a: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7E727FA3-AE98-4D6D-829E-987D387EE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993886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er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D2EA8CE-69DD-4C0B-BFC4-4CC3ACC0A1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America</a:t>
            </a:r>
            <a:br>
              <a:rPr lang="hu-HU" dirty="0"/>
            </a:br>
            <a:endParaRPr lang="hu-HU" dirty="0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0AE43A17-05A8-44FB-A510-32BDB01B5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641CE93-1C4B-47F7-985C-28CCE5C1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18748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A inc. st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C23685A-B65D-4036-AFDD-E17330914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USA </a:t>
            </a:r>
            <a:r>
              <a:rPr lang="hu-HU" dirty="0" err="1"/>
              <a:t>inc</a:t>
            </a:r>
            <a:r>
              <a:rPr lang="hu-HU" dirty="0"/>
              <a:t>. </a:t>
            </a:r>
            <a:r>
              <a:rPr lang="hu-HU" dirty="0" err="1"/>
              <a:t>state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EB43E6A-E792-4052-AC94-5DBA310C8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363885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C6EAB02-64F7-4634-B7CB-C1247A8C2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Europe </a:t>
            </a:r>
            <a:r>
              <a:rPr lang="hu-HU" dirty="0" err="1"/>
              <a:t>incl</a:t>
            </a:r>
            <a:r>
              <a:rPr lang="hu-HU" dirty="0"/>
              <a:t>. </a:t>
            </a:r>
            <a:r>
              <a:rPr lang="hu-HU" dirty="0" err="1"/>
              <a:t>countrie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77F1E30-164E-45FB-9E7D-4F1B82A69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1315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Dátum helye 2">
            <a:extLst>
              <a:ext uri="{FF2B5EF4-FFF2-40B4-BE49-F238E27FC236}">
                <a16:creationId xmlns:a16="http://schemas.microsoft.com/office/drawing/2014/main" id="{FA0FC2A9-6EC5-4DFA-9546-FE1F662B5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D8B1AF9-C19F-42FC-B8C5-17B5232440CB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1" name="Dia számának helye 4">
            <a:extLst>
              <a:ext uri="{FF2B5EF4-FFF2-40B4-BE49-F238E27FC236}">
                <a16:creationId xmlns:a16="http://schemas.microsoft.com/office/drawing/2014/main" id="{26612CC5-7CBC-425B-AD07-477194083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74363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an count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601347E-8E51-4CDC-821C-1A22598DB0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European </a:t>
            </a:r>
            <a:r>
              <a:rPr lang="hu-HU" dirty="0" err="1"/>
              <a:t>countrie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FE92CBB-692C-49FB-9EEA-A0FC9D2B4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894918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rm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23F5E9D-A3E6-4CC5-A46F-85D4BA699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Germany</a:t>
            </a:r>
            <a:r>
              <a:rPr lang="hu-HU" dirty="0"/>
              <a:t> </a:t>
            </a:r>
            <a:r>
              <a:rPr lang="hu-HU" dirty="0" err="1"/>
              <a:t>incl</a:t>
            </a:r>
            <a:r>
              <a:rPr lang="hu-HU" dirty="0"/>
              <a:t>. </a:t>
            </a:r>
            <a:r>
              <a:rPr lang="hu-HU" dirty="0" err="1"/>
              <a:t>state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161B437-846D-4ADA-A641-643100CB4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597805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C783D5B-A619-4998-9F0E-02FD27AF05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Globes</a:t>
            </a:r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7F7D9E0A-A9DE-4D34-B762-A410580A6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848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Elem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zis 20">
            <a:extLst>
              <a:ext uri="{FF2B5EF4-FFF2-40B4-BE49-F238E27FC236}">
                <a16:creationId xmlns:a16="http://schemas.microsoft.com/office/drawing/2014/main" id="{45BB58A2-A176-4627-A4A8-DA9FD0E6B0B9}"/>
              </a:ext>
            </a:extLst>
          </p:cNvPr>
          <p:cNvSpPr/>
          <p:nvPr userDrawn="1"/>
        </p:nvSpPr>
        <p:spPr>
          <a:xfrm>
            <a:off x="2214612" y="2139576"/>
            <a:ext cx="1834776" cy="1795891"/>
          </a:xfrm>
          <a:prstGeom prst="ellips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10F18137-301B-44A4-94CC-2544618A8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727988" y="1427176"/>
            <a:ext cx="808024" cy="808024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1A8141B6-1406-419C-9E60-127D5EA10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0029">
            <a:off x="1679253" y="2024388"/>
            <a:ext cx="808024" cy="808024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FC12DC04-2737-4235-9C59-C169D7CA6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56594">
            <a:off x="3753986" y="1972715"/>
            <a:ext cx="808024" cy="808024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5255DB66-D316-45B7-A680-A0B234E6B7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58923">
            <a:off x="3757990" y="3283142"/>
            <a:ext cx="808024" cy="808024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3138F862-0EA6-44EB-88D0-1144662A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44937">
            <a:off x="1706069" y="3306444"/>
            <a:ext cx="808024" cy="808024"/>
          </a:xfrm>
          <a:prstGeom prst="rect">
            <a:avLst/>
          </a:prstGeom>
        </p:spPr>
      </p:pic>
      <p:sp>
        <p:nvSpPr>
          <p:cNvPr id="13" name="Szöveg helye 26">
            <a:extLst>
              <a:ext uri="{FF2B5EF4-FFF2-40B4-BE49-F238E27FC236}">
                <a16:creationId xmlns:a16="http://schemas.microsoft.com/office/drawing/2014/main" id="{60A0DD8C-5E8C-46E4-B261-E6CEE1E9A4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6856" y="2876471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9FA201DA-7128-4859-9132-392B1E8E4A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7169" y="1971620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C5ACE680-75FB-413E-9316-C0032E6F7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4849" y="1291814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E9229F30-DFD2-4599-9289-F24663D819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7169" y="3868547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BA138D92-F0F7-46CD-9D94-993D45378C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343" y="1941001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30047AB9-329A-499D-B57B-E0642C9755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8000" y="3911318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pic>
        <p:nvPicPr>
          <p:cNvPr id="19" name="Kép 18">
            <a:extLst>
              <a:ext uri="{FF2B5EF4-FFF2-40B4-BE49-F238E27FC236}">
                <a16:creationId xmlns:a16="http://schemas.microsoft.com/office/drawing/2014/main" id="{233CE865-C3CC-4A98-950D-35053B6325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727990" y="3804360"/>
            <a:ext cx="808024" cy="808024"/>
          </a:xfrm>
          <a:prstGeom prst="rect">
            <a:avLst/>
          </a:prstGeom>
        </p:spPr>
      </p:pic>
      <p:sp>
        <p:nvSpPr>
          <p:cNvPr id="20" name="Szöveg helye 26">
            <a:extLst>
              <a:ext uri="{FF2B5EF4-FFF2-40B4-BE49-F238E27FC236}">
                <a16:creationId xmlns:a16="http://schemas.microsoft.com/office/drawing/2014/main" id="{97F57FE4-3198-4243-9C75-27F6A63E74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14849" y="4536726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DE3DDA94-AA66-4677-932C-15598E746F6A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6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28" name="Fußzeilenplatzhalter 6">
            <a:extLst>
              <a:ext uri="{FF2B5EF4-FFF2-40B4-BE49-F238E27FC236}">
                <a16:creationId xmlns:a16="http://schemas.microsoft.com/office/drawing/2014/main" id="{B182D832-B423-41FC-B617-47F4E38BA309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2" name="Dátum helye 2">
            <a:extLst>
              <a:ext uri="{FF2B5EF4-FFF2-40B4-BE49-F238E27FC236}">
                <a16:creationId xmlns:a16="http://schemas.microsoft.com/office/drawing/2014/main" id="{273A001E-E092-421C-915B-7F5F5BC8D6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47CA6559-3DFA-4F81-AEAC-D29CACC67320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3" name="Dia számának helye 4">
            <a:extLst>
              <a:ext uri="{FF2B5EF4-FFF2-40B4-BE49-F238E27FC236}">
                <a16:creationId xmlns:a16="http://schemas.microsoft.com/office/drawing/2014/main" id="{DABF4407-2803-4D6D-B0F4-1333115CC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332899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Elem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zis 23">
            <a:extLst>
              <a:ext uri="{FF2B5EF4-FFF2-40B4-BE49-F238E27FC236}">
                <a16:creationId xmlns:a16="http://schemas.microsoft.com/office/drawing/2014/main" id="{52237DAB-85CA-42A9-B091-242EAE556217}"/>
              </a:ext>
            </a:extLst>
          </p:cNvPr>
          <p:cNvSpPr/>
          <p:nvPr userDrawn="1"/>
        </p:nvSpPr>
        <p:spPr>
          <a:xfrm>
            <a:off x="2214612" y="2139576"/>
            <a:ext cx="1834776" cy="1795891"/>
          </a:xfrm>
          <a:prstGeom prst="ellips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10F18137-301B-44A4-94CC-2544618A8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727988" y="1427176"/>
            <a:ext cx="808024" cy="808024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1A8141B6-1406-419C-9E60-127D5EA10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0029">
            <a:off x="1810599" y="1788579"/>
            <a:ext cx="808024" cy="808024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FC12DC04-2737-4235-9C59-C169D7CA6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56594">
            <a:off x="3638965" y="1786507"/>
            <a:ext cx="808024" cy="808024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5255DB66-D316-45B7-A680-A0B234E6B7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58923">
            <a:off x="3694208" y="3443302"/>
            <a:ext cx="808024" cy="808024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3138F862-0EA6-44EB-88D0-1144662A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834764">
            <a:off x="1784524" y="3437476"/>
            <a:ext cx="808024" cy="808024"/>
          </a:xfrm>
          <a:prstGeom prst="rect">
            <a:avLst/>
          </a:prstGeom>
        </p:spPr>
      </p:pic>
      <p:sp>
        <p:nvSpPr>
          <p:cNvPr id="13" name="Szöveg helye 26">
            <a:extLst>
              <a:ext uri="{FF2B5EF4-FFF2-40B4-BE49-F238E27FC236}">
                <a16:creationId xmlns:a16="http://schemas.microsoft.com/office/drawing/2014/main" id="{60A0DD8C-5E8C-46E4-B261-E6CEE1E9A4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6856" y="2876471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9FA201DA-7128-4859-9132-392B1E8E4A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6156" y="1881587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C5ACE680-75FB-413E-9316-C0032E6F7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4849" y="1291814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E9229F30-DFD2-4599-9289-F24663D819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6156" y="3999800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BA138D92-F0F7-46CD-9D94-993D45378C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2140" y="1810399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30047AB9-329A-499D-B57B-E0642C9755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0841" y="3962351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97F57FE4-3198-4243-9C75-27F6A63E74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21957" y="2794101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pic>
        <p:nvPicPr>
          <p:cNvPr id="21" name="Kép 20">
            <a:extLst>
              <a:ext uri="{FF2B5EF4-FFF2-40B4-BE49-F238E27FC236}">
                <a16:creationId xmlns:a16="http://schemas.microsoft.com/office/drawing/2014/main" id="{D906838A-4546-4A26-BAF9-E5CA2712D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908399" y="2608484"/>
            <a:ext cx="808024" cy="808024"/>
          </a:xfrm>
          <a:prstGeom prst="rect">
            <a:avLst/>
          </a:prstGeom>
        </p:spPr>
      </p:pic>
      <p:pic>
        <p:nvPicPr>
          <p:cNvPr id="22" name="Kép 21">
            <a:extLst>
              <a:ext uri="{FF2B5EF4-FFF2-40B4-BE49-F238E27FC236}">
                <a16:creationId xmlns:a16="http://schemas.microsoft.com/office/drawing/2014/main" id="{7750CCC3-5EAE-42C2-AC65-8CD6FBBA84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869" y="2616355"/>
            <a:ext cx="808024" cy="808024"/>
          </a:xfrm>
          <a:prstGeom prst="rect">
            <a:avLst/>
          </a:prstGeom>
        </p:spPr>
      </p:pic>
      <p:sp>
        <p:nvSpPr>
          <p:cNvPr id="23" name="Szöveg helye 26">
            <a:extLst>
              <a:ext uri="{FF2B5EF4-FFF2-40B4-BE49-F238E27FC236}">
                <a16:creationId xmlns:a16="http://schemas.microsoft.com/office/drawing/2014/main" id="{B2308562-FAF4-4B45-A1EC-E2899721EB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3976" y="2788671"/>
            <a:ext cx="1434300" cy="258762"/>
          </a:xfrm>
        </p:spPr>
        <p:txBody>
          <a:bodyPr anchor="ctr"/>
          <a:lstStyle>
            <a:lvl1pPr algn="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9A672B41-CBCE-4F19-BABA-3953083358F6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7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74293AD5-8130-4810-943C-411376B2059E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5" name="Dátum helye 2">
            <a:extLst>
              <a:ext uri="{FF2B5EF4-FFF2-40B4-BE49-F238E27FC236}">
                <a16:creationId xmlns:a16="http://schemas.microsoft.com/office/drawing/2014/main" id="{ACA22728-B6A5-45E2-B741-8C9E732E0F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ACC601C7-DD14-41C7-85CB-1BFC0F265EB4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6" name="Dia számának helye 4">
            <a:extLst>
              <a:ext uri="{FF2B5EF4-FFF2-40B4-BE49-F238E27FC236}">
                <a16:creationId xmlns:a16="http://schemas.microsoft.com/office/drawing/2014/main" id="{D0C24F56-B6C4-42D4-9975-334CA9740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8405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llipszis 25">
            <a:extLst>
              <a:ext uri="{FF2B5EF4-FFF2-40B4-BE49-F238E27FC236}">
                <a16:creationId xmlns:a16="http://schemas.microsoft.com/office/drawing/2014/main" id="{67FA47BC-BD32-4708-A55B-35CCF1CA5E2C}"/>
              </a:ext>
            </a:extLst>
          </p:cNvPr>
          <p:cNvSpPr/>
          <p:nvPr userDrawn="1"/>
        </p:nvSpPr>
        <p:spPr>
          <a:xfrm>
            <a:off x="2214612" y="2139576"/>
            <a:ext cx="1834776" cy="1795891"/>
          </a:xfrm>
          <a:prstGeom prst="ellips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10F18137-301B-44A4-94CC-2544618A8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727988" y="1427176"/>
            <a:ext cx="808024" cy="808024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1A8141B6-1406-419C-9E60-127D5EA10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0029">
            <a:off x="1791481" y="1788579"/>
            <a:ext cx="808024" cy="808024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FC12DC04-2737-4235-9C59-C169D7CA6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56594">
            <a:off x="3619091" y="1743542"/>
            <a:ext cx="808024" cy="808024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5255DB66-D316-45B7-A680-A0B234E6B7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58923">
            <a:off x="3614548" y="3463765"/>
            <a:ext cx="808024" cy="808024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3138F862-0EA6-44EB-88D0-1144662A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834764">
            <a:off x="1856340" y="3471902"/>
            <a:ext cx="808024" cy="808024"/>
          </a:xfrm>
          <a:prstGeom prst="rect">
            <a:avLst/>
          </a:prstGeom>
        </p:spPr>
      </p:pic>
      <p:sp>
        <p:nvSpPr>
          <p:cNvPr id="13" name="Szöveg helye 26">
            <a:extLst>
              <a:ext uri="{FF2B5EF4-FFF2-40B4-BE49-F238E27FC236}">
                <a16:creationId xmlns:a16="http://schemas.microsoft.com/office/drawing/2014/main" id="{60A0DD8C-5E8C-46E4-B261-E6CEE1E9A4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6856" y="2876471"/>
            <a:ext cx="1030287" cy="25876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9FA201DA-7128-4859-9132-392B1E8E4A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4799" y="1880814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C5ACE680-75FB-413E-9316-C0032E6F7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4849" y="1291814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E9229F30-DFD2-4599-9289-F24663D819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16250" y="3999800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BA138D92-F0F7-46CD-9D94-993D45378C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8258" y="1743066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30047AB9-329A-499D-B57B-E0642C9755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964" y="3990509"/>
            <a:ext cx="1434300" cy="435726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97F57FE4-3198-4243-9C75-27F6A63E74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45032" y="2874544"/>
            <a:ext cx="1434300" cy="258762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pic>
        <p:nvPicPr>
          <p:cNvPr id="21" name="Kép 20">
            <a:extLst>
              <a:ext uri="{FF2B5EF4-FFF2-40B4-BE49-F238E27FC236}">
                <a16:creationId xmlns:a16="http://schemas.microsoft.com/office/drawing/2014/main" id="{D906838A-4546-4A26-BAF9-E5CA2712D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908399" y="2608484"/>
            <a:ext cx="808024" cy="808024"/>
          </a:xfrm>
          <a:prstGeom prst="rect">
            <a:avLst/>
          </a:prstGeom>
        </p:spPr>
      </p:pic>
      <p:pic>
        <p:nvPicPr>
          <p:cNvPr id="22" name="Kép 21">
            <a:extLst>
              <a:ext uri="{FF2B5EF4-FFF2-40B4-BE49-F238E27FC236}">
                <a16:creationId xmlns:a16="http://schemas.microsoft.com/office/drawing/2014/main" id="{7750CCC3-5EAE-42C2-AC65-8CD6FBBA84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869" y="2616355"/>
            <a:ext cx="808024" cy="808024"/>
          </a:xfrm>
          <a:prstGeom prst="rect">
            <a:avLst/>
          </a:prstGeom>
        </p:spPr>
      </p:pic>
      <p:sp>
        <p:nvSpPr>
          <p:cNvPr id="23" name="Szöveg helye 26">
            <a:extLst>
              <a:ext uri="{FF2B5EF4-FFF2-40B4-BE49-F238E27FC236}">
                <a16:creationId xmlns:a16="http://schemas.microsoft.com/office/drawing/2014/main" id="{B2308562-FAF4-4B45-A1EC-E2899721EB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3976" y="2889736"/>
            <a:ext cx="1434300" cy="258762"/>
          </a:xfrm>
        </p:spPr>
        <p:txBody>
          <a:bodyPr anchor="ctr"/>
          <a:lstStyle>
            <a:lvl1pPr algn="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pic>
        <p:nvPicPr>
          <p:cNvPr id="24" name="Kép 23">
            <a:extLst>
              <a:ext uri="{FF2B5EF4-FFF2-40B4-BE49-F238E27FC236}">
                <a16:creationId xmlns:a16="http://schemas.microsoft.com/office/drawing/2014/main" id="{13B4F78E-C8EA-458D-9DF3-6E844DF7E4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727990" y="3804360"/>
            <a:ext cx="808024" cy="808024"/>
          </a:xfrm>
          <a:prstGeom prst="rect">
            <a:avLst/>
          </a:prstGeom>
        </p:spPr>
      </p:pic>
      <p:sp>
        <p:nvSpPr>
          <p:cNvPr id="25" name="Szöveg helye 26">
            <a:extLst>
              <a:ext uri="{FF2B5EF4-FFF2-40B4-BE49-F238E27FC236}">
                <a16:creationId xmlns:a16="http://schemas.microsoft.com/office/drawing/2014/main" id="{4164EA65-C36F-4B19-924F-1FA55D7A71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14849" y="4536726"/>
            <a:ext cx="1434300" cy="258762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A170C308-6AB3-4A7E-A86D-E616D0D7B14E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8 </a:t>
            </a:r>
            <a:r>
              <a:rPr lang="hu-HU" dirty="0" err="1"/>
              <a:t>Elements</a:t>
            </a:r>
            <a:endParaRPr lang="en-GB" dirty="0"/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5E688A77-6546-453C-907B-CB45BE8888BA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7" name="Dátum helye 2">
            <a:extLst>
              <a:ext uri="{FF2B5EF4-FFF2-40B4-BE49-F238E27FC236}">
                <a16:creationId xmlns:a16="http://schemas.microsoft.com/office/drawing/2014/main" id="{5C2401DC-9CC3-4451-9849-6B7D593FDF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47C6E830-AA79-4796-8E83-EA2D82EE8B23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8" name="Dia számának helye 4">
            <a:extLst>
              <a:ext uri="{FF2B5EF4-FFF2-40B4-BE49-F238E27FC236}">
                <a16:creationId xmlns:a16="http://schemas.microsoft.com/office/drawing/2014/main" id="{1897D898-B203-4117-B8E5-2DED689F4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031960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/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églalap 5">
            <a:extLst>
              <a:ext uri="{FF2B5EF4-FFF2-40B4-BE49-F238E27FC236}">
                <a16:creationId xmlns:a16="http://schemas.microsoft.com/office/drawing/2014/main" id="{B1B3C300-196A-406C-8233-C677B1C05B23}"/>
              </a:ext>
            </a:extLst>
          </p:cNvPr>
          <p:cNvSpPr/>
          <p:nvPr userDrawn="1"/>
        </p:nvSpPr>
        <p:spPr>
          <a:xfrm>
            <a:off x="4571998" y="1806300"/>
            <a:ext cx="4572000" cy="3345417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5DF78BC4-3DCE-4BDF-8860-BC83FF513A0A}"/>
              </a:ext>
            </a:extLst>
          </p:cNvPr>
          <p:cNvSpPr/>
          <p:nvPr userDrawn="1"/>
        </p:nvSpPr>
        <p:spPr>
          <a:xfrm>
            <a:off x="-2" y="1806300"/>
            <a:ext cx="4572000" cy="33372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Háromszög 12">
            <a:extLst>
              <a:ext uri="{FF2B5EF4-FFF2-40B4-BE49-F238E27FC236}">
                <a16:creationId xmlns:a16="http://schemas.microsoft.com/office/drawing/2014/main" id="{6D67B3B2-16D5-4BF2-A311-AB4972738A05}"/>
              </a:ext>
            </a:extLst>
          </p:cNvPr>
          <p:cNvSpPr/>
          <p:nvPr userDrawn="1"/>
        </p:nvSpPr>
        <p:spPr>
          <a:xfrm rot="5400000">
            <a:off x="4461552" y="3416158"/>
            <a:ext cx="462335" cy="241443"/>
          </a:xfrm>
          <a:prstGeom prst="triangle">
            <a:avLst>
              <a:gd name="adj" fmla="val 48360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E3B9F6BC-32B1-4902-9AF2-836D26D76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98" y="1806300"/>
            <a:ext cx="3155950" cy="2185987"/>
          </a:xfrm>
        </p:spPr>
        <p:txBody>
          <a:bodyPr lIns="36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Con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5" name="Szöveg helye 4">
            <a:extLst>
              <a:ext uri="{FF2B5EF4-FFF2-40B4-BE49-F238E27FC236}">
                <a16:creationId xmlns:a16="http://schemas.microsoft.com/office/drawing/2014/main" id="{8106AC8D-994B-4BC5-B27E-8C55A71055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0240" y="2021219"/>
            <a:ext cx="533400" cy="403225"/>
          </a:xfrm>
        </p:spPr>
        <p:txBody>
          <a:bodyPr tIns="72000" anchor="ctr"/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+</a:t>
            </a:r>
          </a:p>
        </p:txBody>
      </p:sp>
      <p:sp>
        <p:nvSpPr>
          <p:cNvPr id="18" name="Szöveg helye 4">
            <a:extLst>
              <a:ext uri="{FF2B5EF4-FFF2-40B4-BE49-F238E27FC236}">
                <a16:creationId xmlns:a16="http://schemas.microsoft.com/office/drawing/2014/main" id="{DD48DB55-CB21-451A-8A24-7389253049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92240" y="2032284"/>
            <a:ext cx="533400" cy="403225"/>
          </a:xfrm>
        </p:spPr>
        <p:txBody>
          <a:bodyPr tIns="72000" anchor="ctr"/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-</a:t>
            </a:r>
          </a:p>
        </p:txBody>
      </p:sp>
      <p:sp>
        <p:nvSpPr>
          <p:cNvPr id="12" name="Szöveg helye 13">
            <a:extLst>
              <a:ext uri="{FF2B5EF4-FFF2-40B4-BE49-F238E27FC236}">
                <a16:creationId xmlns:a16="http://schemas.microsoft.com/office/drawing/2014/main" id="{0C0734F3-3C16-4347-ABC7-7F96FE26CD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" y="1807270"/>
            <a:ext cx="3155950" cy="2185987"/>
          </a:xfrm>
        </p:spPr>
        <p:txBody>
          <a:bodyPr lIns="36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4C91AB5-B7F6-42DD-BD90-D4EE5E550BA3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Pros</a:t>
            </a:r>
            <a:r>
              <a:rPr lang="hu-HU" dirty="0"/>
              <a:t> / Cons</a:t>
            </a:r>
            <a:endParaRPr lang="en-GB" dirty="0"/>
          </a:p>
        </p:txBody>
      </p:sp>
      <p:sp>
        <p:nvSpPr>
          <p:cNvPr id="23" name="Fußzeilenplatzhalter 6">
            <a:extLst>
              <a:ext uri="{FF2B5EF4-FFF2-40B4-BE49-F238E27FC236}">
                <a16:creationId xmlns:a16="http://schemas.microsoft.com/office/drawing/2014/main" id="{D23ED057-52FD-4AE7-A7A5-B41C0EA140C5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4" name="Dátum helye 2">
            <a:extLst>
              <a:ext uri="{FF2B5EF4-FFF2-40B4-BE49-F238E27FC236}">
                <a16:creationId xmlns:a16="http://schemas.microsoft.com/office/drawing/2014/main" id="{4EF2B88D-2822-4D7A-93BD-EC5C7A8EC7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9FAD316-5A60-48B5-9D6C-9DBEBBBC30F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9" name="Dia számának helye 4">
            <a:extLst>
              <a:ext uri="{FF2B5EF4-FFF2-40B4-BE49-F238E27FC236}">
                <a16:creationId xmlns:a16="http://schemas.microsoft.com/office/drawing/2014/main" id="{7746C49B-9654-4256-A2F0-A1BE6B8F0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786089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ope of 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églalap 5">
            <a:extLst>
              <a:ext uri="{FF2B5EF4-FFF2-40B4-BE49-F238E27FC236}">
                <a16:creationId xmlns:a16="http://schemas.microsoft.com/office/drawing/2014/main" id="{B1B3C300-196A-406C-8233-C677B1C05B23}"/>
              </a:ext>
            </a:extLst>
          </p:cNvPr>
          <p:cNvSpPr/>
          <p:nvPr userDrawn="1"/>
        </p:nvSpPr>
        <p:spPr>
          <a:xfrm>
            <a:off x="4571998" y="1806300"/>
            <a:ext cx="4572000" cy="3345417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5DF78BC4-3DCE-4BDF-8860-BC83FF513A0A}"/>
              </a:ext>
            </a:extLst>
          </p:cNvPr>
          <p:cNvSpPr/>
          <p:nvPr userDrawn="1"/>
        </p:nvSpPr>
        <p:spPr>
          <a:xfrm>
            <a:off x="-2" y="1806300"/>
            <a:ext cx="4572000" cy="33372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E3B9F6BC-32B1-4902-9AF2-836D26D76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98" y="1806300"/>
            <a:ext cx="3155950" cy="2185987"/>
          </a:xfrm>
        </p:spPr>
        <p:txBody>
          <a:bodyPr lIns="36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Con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2" name="Szöveg helye 13">
            <a:extLst>
              <a:ext uri="{FF2B5EF4-FFF2-40B4-BE49-F238E27FC236}">
                <a16:creationId xmlns:a16="http://schemas.microsoft.com/office/drawing/2014/main" id="{0C0734F3-3C16-4347-ABC7-7F96FE26CD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34" y="1807270"/>
            <a:ext cx="3155950" cy="2185987"/>
          </a:xfrm>
        </p:spPr>
        <p:txBody>
          <a:bodyPr lIns="36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4C91AB5-B7F6-42DD-BD90-D4EE5E550BA3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Scope</a:t>
            </a:r>
            <a:r>
              <a:rPr lang="hu-HU" dirty="0"/>
              <a:t> of Project</a:t>
            </a:r>
            <a:endParaRPr lang="en-GB" dirty="0"/>
          </a:p>
        </p:txBody>
      </p:sp>
      <p:sp>
        <p:nvSpPr>
          <p:cNvPr id="23" name="Fußzeilenplatzhalter 6">
            <a:extLst>
              <a:ext uri="{FF2B5EF4-FFF2-40B4-BE49-F238E27FC236}">
                <a16:creationId xmlns:a16="http://schemas.microsoft.com/office/drawing/2014/main" id="{D23ED057-52FD-4AE7-A7A5-B41C0EA140C5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pic>
        <p:nvPicPr>
          <p:cNvPr id="14" name="Bild 8">
            <a:extLst>
              <a:ext uri="{FF2B5EF4-FFF2-40B4-BE49-F238E27FC236}">
                <a16:creationId xmlns:a16="http://schemas.microsoft.com/office/drawing/2014/main" id="{902E3FC0-9CBD-40F0-8580-58850952AA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676" y="1928653"/>
            <a:ext cx="540000" cy="540000"/>
          </a:xfrm>
          <a:prstGeom prst="rect">
            <a:avLst/>
          </a:prstGeom>
        </p:spPr>
      </p:pic>
      <p:pic>
        <p:nvPicPr>
          <p:cNvPr id="19" name="Bild 18">
            <a:extLst>
              <a:ext uri="{FF2B5EF4-FFF2-40B4-BE49-F238E27FC236}">
                <a16:creationId xmlns:a16="http://schemas.microsoft.com/office/drawing/2014/main" id="{1692FC5C-3E02-4609-999B-87AA1FD218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1321" y="1948445"/>
            <a:ext cx="540000" cy="540000"/>
          </a:xfrm>
          <a:prstGeom prst="rect">
            <a:avLst/>
          </a:prstGeom>
        </p:spPr>
      </p:pic>
      <p:sp>
        <p:nvSpPr>
          <p:cNvPr id="18" name="Dátum helye 2">
            <a:extLst>
              <a:ext uri="{FF2B5EF4-FFF2-40B4-BE49-F238E27FC236}">
                <a16:creationId xmlns:a16="http://schemas.microsoft.com/office/drawing/2014/main" id="{248A2852-46F0-48B2-9B3C-2B599FBFBB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4AAACAF0-6CE8-4B37-9BA9-1EC527195074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0" name="Dia számának helye 4">
            <a:extLst>
              <a:ext uri="{FF2B5EF4-FFF2-40B4-BE49-F238E27FC236}">
                <a16:creationId xmlns:a16="http://schemas.microsoft.com/office/drawing/2014/main" id="{E232E76A-6C37-4C96-B79D-CDEE0FE3C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799939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ope of proje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églalap 5">
            <a:extLst>
              <a:ext uri="{FF2B5EF4-FFF2-40B4-BE49-F238E27FC236}">
                <a16:creationId xmlns:a16="http://schemas.microsoft.com/office/drawing/2014/main" id="{CE941511-0F26-47C3-9F59-AD205969F816}"/>
              </a:ext>
            </a:extLst>
          </p:cNvPr>
          <p:cNvSpPr/>
          <p:nvPr userDrawn="1"/>
        </p:nvSpPr>
        <p:spPr>
          <a:xfrm>
            <a:off x="4571998" y="1806300"/>
            <a:ext cx="4572000" cy="3345417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239161AB-71CF-47E2-917A-9A97B2BF41F1}"/>
              </a:ext>
            </a:extLst>
          </p:cNvPr>
          <p:cNvSpPr/>
          <p:nvPr userDrawn="1"/>
        </p:nvSpPr>
        <p:spPr>
          <a:xfrm>
            <a:off x="-2" y="1806300"/>
            <a:ext cx="4572000" cy="33372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 helye 13">
            <a:extLst>
              <a:ext uri="{FF2B5EF4-FFF2-40B4-BE49-F238E27FC236}">
                <a16:creationId xmlns:a16="http://schemas.microsoft.com/office/drawing/2014/main" id="{933644A7-04A2-40D7-8955-1F7BBB465E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98" y="1806300"/>
            <a:ext cx="1910082" cy="581301"/>
          </a:xfrm>
        </p:spPr>
        <p:txBody>
          <a:bodyPr lIns="360000" tIns="180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Con</a:t>
            </a:r>
          </a:p>
        </p:txBody>
      </p:sp>
      <p:sp>
        <p:nvSpPr>
          <p:cNvPr id="9" name="Szöveg helye 13">
            <a:extLst>
              <a:ext uri="{FF2B5EF4-FFF2-40B4-BE49-F238E27FC236}">
                <a16:creationId xmlns:a16="http://schemas.microsoft.com/office/drawing/2014/main" id="{529B59BA-F969-4A3B-BAC7-38A9E39249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34" y="1807271"/>
            <a:ext cx="1039746" cy="580330"/>
          </a:xfrm>
        </p:spPr>
        <p:txBody>
          <a:bodyPr lIns="360000" tIns="180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Pro</a:t>
            </a:r>
          </a:p>
        </p:txBody>
      </p:sp>
      <p:pic>
        <p:nvPicPr>
          <p:cNvPr id="10" name="Bild 8">
            <a:extLst>
              <a:ext uri="{FF2B5EF4-FFF2-40B4-BE49-F238E27FC236}">
                <a16:creationId xmlns:a16="http://schemas.microsoft.com/office/drawing/2014/main" id="{62F9AB16-125D-4107-885D-992B53F41E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676" y="1858893"/>
            <a:ext cx="540000" cy="540000"/>
          </a:xfrm>
          <a:prstGeom prst="rect">
            <a:avLst/>
          </a:prstGeom>
        </p:spPr>
      </p:pic>
      <p:pic>
        <p:nvPicPr>
          <p:cNvPr id="11" name="Bild 18">
            <a:extLst>
              <a:ext uri="{FF2B5EF4-FFF2-40B4-BE49-F238E27FC236}">
                <a16:creationId xmlns:a16="http://schemas.microsoft.com/office/drawing/2014/main" id="{61AA3DE3-CE21-47E5-B244-ED6DE26594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1321" y="1858893"/>
            <a:ext cx="540000" cy="540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D323FCB3-5FEA-42F6-A4E3-C1AA1F173D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Scope</a:t>
            </a:r>
            <a:r>
              <a:rPr lang="hu-HU" dirty="0"/>
              <a:t> of project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87FE7703-5064-40CC-A97D-E27E7BE51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ABC8-D205-4DBC-9A01-E7BD21EBB0D1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22B8E3D1-BF86-4F60-9031-822621B53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1F89B6C6-21F4-48CD-BC47-CC6EED836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9D2C58DE-A8BF-4507-B22A-D3DD697602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2398893"/>
            <a:ext cx="3155950" cy="2185987"/>
          </a:xfrm>
        </p:spPr>
        <p:txBody>
          <a:bodyPr lIns="360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5" name="Szöveg helye 13">
            <a:extLst>
              <a:ext uri="{FF2B5EF4-FFF2-40B4-BE49-F238E27FC236}">
                <a16:creationId xmlns:a16="http://schemas.microsoft.com/office/drawing/2014/main" id="{0DC7714B-E819-4C43-8084-8771BA944F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108" y="2398893"/>
            <a:ext cx="3155950" cy="2185987"/>
          </a:xfrm>
        </p:spPr>
        <p:txBody>
          <a:bodyPr lIns="360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23098307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/Con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églalap 19">
            <a:extLst>
              <a:ext uri="{FF2B5EF4-FFF2-40B4-BE49-F238E27FC236}">
                <a16:creationId xmlns:a16="http://schemas.microsoft.com/office/drawing/2014/main" id="{4F5B6150-33D6-4F1D-B1FC-8C89DE4759D7}"/>
              </a:ext>
            </a:extLst>
          </p:cNvPr>
          <p:cNvSpPr/>
          <p:nvPr userDrawn="1"/>
        </p:nvSpPr>
        <p:spPr>
          <a:xfrm>
            <a:off x="5285820" y="1153233"/>
            <a:ext cx="2453910" cy="2552858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5DF78BC4-3DCE-4BDF-8860-BC83FF513A0A}"/>
              </a:ext>
            </a:extLst>
          </p:cNvPr>
          <p:cNvSpPr/>
          <p:nvPr userDrawn="1"/>
        </p:nvSpPr>
        <p:spPr>
          <a:xfrm>
            <a:off x="378000" y="1146349"/>
            <a:ext cx="2453910" cy="2552858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72073205-B0A6-472D-8C0E-5DB0B16200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2461763"/>
            <a:ext cx="2453910" cy="1237442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F0022A5C-9342-4388-8B14-CF6E965516EA}"/>
              </a:ext>
            </a:extLst>
          </p:cNvPr>
          <p:cNvSpPr/>
          <p:nvPr userDrawn="1"/>
        </p:nvSpPr>
        <p:spPr>
          <a:xfrm>
            <a:off x="2831910" y="1153233"/>
            <a:ext cx="2453910" cy="2552858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24" name="Szöveg helye 13">
            <a:extLst>
              <a:ext uri="{FF2B5EF4-FFF2-40B4-BE49-F238E27FC236}">
                <a16:creationId xmlns:a16="http://schemas.microsoft.com/office/drawing/2014/main" id="{6FC4B0ED-8A01-45EB-8720-CCAFAB0AD7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1153232"/>
            <a:ext cx="2453910" cy="130853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1</a:t>
            </a:r>
          </a:p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FC721A0E-FA99-4C0A-AF5E-5ABF79F6DC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31910" y="1155830"/>
            <a:ext cx="2453910" cy="130853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2</a:t>
            </a:r>
          </a:p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117C6257-8A2E-4284-9330-FFC20CFE52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85820" y="1155830"/>
            <a:ext cx="2453910" cy="130853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3</a:t>
            </a:r>
          </a:p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5" name="Szöveg helye 13">
            <a:extLst>
              <a:ext uri="{FF2B5EF4-FFF2-40B4-BE49-F238E27FC236}">
                <a16:creationId xmlns:a16="http://schemas.microsoft.com/office/drawing/2014/main" id="{DDFCB49B-F3A3-4C57-8BE0-4F2AC0C0C0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31910" y="2460463"/>
            <a:ext cx="2453910" cy="1238743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7" name="Szöveg helye 13">
            <a:extLst>
              <a:ext uri="{FF2B5EF4-FFF2-40B4-BE49-F238E27FC236}">
                <a16:creationId xmlns:a16="http://schemas.microsoft.com/office/drawing/2014/main" id="{AF1EEE53-B709-4F7B-833C-914E229475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5820" y="2459164"/>
            <a:ext cx="2453910" cy="1240041"/>
          </a:xfrm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Pro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21" name="Háromszög 20">
            <a:extLst>
              <a:ext uri="{FF2B5EF4-FFF2-40B4-BE49-F238E27FC236}">
                <a16:creationId xmlns:a16="http://schemas.microsoft.com/office/drawing/2014/main" id="{960FAA98-474C-41C7-8D8F-F9D3EE82939D}"/>
              </a:ext>
            </a:extLst>
          </p:cNvPr>
          <p:cNvSpPr/>
          <p:nvPr userDrawn="1"/>
        </p:nvSpPr>
        <p:spPr>
          <a:xfrm rot="10800000">
            <a:off x="1281667" y="3688191"/>
            <a:ext cx="398612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2" name="Háromszög 21">
            <a:extLst>
              <a:ext uri="{FF2B5EF4-FFF2-40B4-BE49-F238E27FC236}">
                <a16:creationId xmlns:a16="http://schemas.microsoft.com/office/drawing/2014/main" id="{B483B562-A00F-4C87-A3DD-E79C6B2E7D75}"/>
              </a:ext>
            </a:extLst>
          </p:cNvPr>
          <p:cNvSpPr/>
          <p:nvPr userDrawn="1"/>
        </p:nvSpPr>
        <p:spPr>
          <a:xfrm rot="10800000">
            <a:off x="3735577" y="3692804"/>
            <a:ext cx="398612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3" name="Háromszög 22">
            <a:extLst>
              <a:ext uri="{FF2B5EF4-FFF2-40B4-BE49-F238E27FC236}">
                <a16:creationId xmlns:a16="http://schemas.microsoft.com/office/drawing/2014/main" id="{6DA8B880-7CE3-461B-BDB8-541C4671D96D}"/>
              </a:ext>
            </a:extLst>
          </p:cNvPr>
          <p:cNvSpPr/>
          <p:nvPr userDrawn="1"/>
        </p:nvSpPr>
        <p:spPr>
          <a:xfrm rot="10800000">
            <a:off x="6370118" y="3692804"/>
            <a:ext cx="398612" cy="121920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447A7761-C730-4CB5-913C-4572537E06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635" y="3899280"/>
            <a:ext cx="2454275" cy="981075"/>
          </a:xfrm>
        </p:spPr>
        <p:txBody>
          <a:bodyPr lIns="72000" tIns="72000"/>
          <a:lstStyle>
            <a:lvl1pPr>
              <a:defRPr>
                <a:solidFill>
                  <a:srgbClr val="EA1C0A"/>
                </a:solidFill>
                <a:latin typeface="+mj-lt"/>
              </a:defRPr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hu-HU" dirty="0" err="1"/>
              <a:t>Next</a:t>
            </a:r>
            <a:r>
              <a:rPr lang="hu-HU" dirty="0"/>
              <a:t> </a:t>
            </a:r>
            <a:r>
              <a:rPr lang="hu-HU" dirty="0" err="1"/>
              <a:t>steps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0"/>
            <a:endParaRPr lang="hu-HU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B3600AAD-9EB7-486E-B195-AEEBDB34D185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Pros</a:t>
            </a:r>
            <a:r>
              <a:rPr lang="hu-HU" dirty="0"/>
              <a:t> / Cons</a:t>
            </a:r>
            <a:endParaRPr lang="en-GB" dirty="0"/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27390F8B-EC88-446B-AAD4-6B55CB743919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6" name="Dátum helye 2">
            <a:extLst>
              <a:ext uri="{FF2B5EF4-FFF2-40B4-BE49-F238E27FC236}">
                <a16:creationId xmlns:a16="http://schemas.microsoft.com/office/drawing/2014/main" id="{CEEC6D99-13D3-497D-8A68-74F00A0258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F86A7C7-E33E-4BDB-B2D4-DFCCE5DF6C1F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8" name="Dia számának helye 4">
            <a:extLst>
              <a:ext uri="{FF2B5EF4-FFF2-40B4-BE49-F238E27FC236}">
                <a16:creationId xmlns:a16="http://schemas.microsoft.com/office/drawing/2014/main" id="{0AAC5C17-B637-4BF1-81E2-95D7A6702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32265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átum helye 2">
            <a:extLst>
              <a:ext uri="{FF2B5EF4-FFF2-40B4-BE49-F238E27FC236}">
                <a16:creationId xmlns:a16="http://schemas.microsoft.com/office/drawing/2014/main" id="{FFE234B3-51C5-4988-A336-E6A02B2C8C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1A43068A-B651-49AF-ACDF-163F10665436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2" name="Dia számának helye 4">
            <a:extLst>
              <a:ext uri="{FF2B5EF4-FFF2-40B4-BE49-F238E27FC236}">
                <a16:creationId xmlns:a16="http://schemas.microsoft.com/office/drawing/2014/main" id="{E77E0142-78CE-4C59-AE7B-DF00D8EDC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42377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, Con, Consequ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7D3FDDD0-A16A-4B53-8BB3-66E937E35B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026394"/>
            <a:ext cx="9144000" cy="2117105"/>
          </a:xfrm>
          <a:solidFill>
            <a:srgbClr val="EA1C0A"/>
          </a:solidFill>
        </p:spPr>
        <p:txBody>
          <a:bodyPr lIns="360000" tIns="36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hu-HU" dirty="0" err="1"/>
              <a:t>Consequence</a:t>
            </a:r>
            <a:endParaRPr lang="hu-HU" dirty="0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5DF78BC4-3DCE-4BDF-8860-BC83FF513A0A}"/>
              </a:ext>
            </a:extLst>
          </p:cNvPr>
          <p:cNvSpPr/>
          <p:nvPr userDrawn="1"/>
        </p:nvSpPr>
        <p:spPr>
          <a:xfrm>
            <a:off x="4572000" y="1145628"/>
            <a:ext cx="4572000" cy="1883944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F0022A5C-9342-4388-8B14-CF6E965516EA}"/>
              </a:ext>
            </a:extLst>
          </p:cNvPr>
          <p:cNvSpPr/>
          <p:nvPr userDrawn="1"/>
        </p:nvSpPr>
        <p:spPr>
          <a:xfrm>
            <a:off x="1" y="1145628"/>
            <a:ext cx="4572000" cy="1883943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FC721A0E-FA99-4C0A-AF5E-5ABF79F6DC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1154258"/>
            <a:ext cx="2453910" cy="1308531"/>
          </a:xfrm>
        </p:spPr>
        <p:txBody>
          <a:bodyPr lIns="360000" tIns="360000"/>
          <a:lstStyle>
            <a:lvl1pPr>
              <a:spcAft>
                <a:spcPts val="0"/>
              </a:spcAft>
              <a:defRPr sz="11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2</a:t>
            </a:r>
          </a:p>
          <a:p>
            <a:pPr lvl="0"/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21" name="Háromszög 20">
            <a:extLst>
              <a:ext uri="{FF2B5EF4-FFF2-40B4-BE49-F238E27FC236}">
                <a16:creationId xmlns:a16="http://schemas.microsoft.com/office/drawing/2014/main" id="{960FAA98-474C-41C7-8D8F-F9D3EE82939D}"/>
              </a:ext>
            </a:extLst>
          </p:cNvPr>
          <p:cNvSpPr/>
          <p:nvPr userDrawn="1"/>
        </p:nvSpPr>
        <p:spPr>
          <a:xfrm rot="10800000">
            <a:off x="2086694" y="3015015"/>
            <a:ext cx="398612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3" name="Háromszög 22">
            <a:extLst>
              <a:ext uri="{FF2B5EF4-FFF2-40B4-BE49-F238E27FC236}">
                <a16:creationId xmlns:a16="http://schemas.microsoft.com/office/drawing/2014/main" id="{6DA8B880-7CE3-461B-BDB8-541C4671D96D}"/>
              </a:ext>
            </a:extLst>
          </p:cNvPr>
          <p:cNvSpPr/>
          <p:nvPr userDrawn="1"/>
        </p:nvSpPr>
        <p:spPr>
          <a:xfrm rot="10800000">
            <a:off x="6950650" y="3019820"/>
            <a:ext cx="398612" cy="154151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AFEE282-FBC6-4248-886E-6648B1BF1B09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Pro, Con, </a:t>
            </a:r>
            <a:r>
              <a:rPr lang="hu-HU" dirty="0" err="1"/>
              <a:t>Consequence</a:t>
            </a:r>
            <a:endParaRPr lang="en-GB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F878C218-6D9D-4B97-853D-441302B23362}"/>
              </a:ext>
            </a:extLst>
          </p:cNvPr>
          <p:cNvSpPr txBox="1">
            <a:spLocks/>
          </p:cNvSpPr>
          <p:nvPr userDrawn="1"/>
        </p:nvSpPr>
        <p:spPr>
          <a:xfrm>
            <a:off x="8374133" y="4808669"/>
            <a:ext cx="305683" cy="2802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ts val="1125"/>
              </a:lnSpc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hu-HU" sz="900" dirty="0">
                <a:solidFill>
                  <a:schemeClr val="tx1"/>
                </a:solidFill>
                <a:latin typeface="+mn-lt"/>
              </a:rPr>
              <a:t>13</a:t>
            </a:r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F3BF1C69-E907-4D32-8915-06452BBF29BD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6" name="Szöveg helye 13">
            <a:extLst>
              <a:ext uri="{FF2B5EF4-FFF2-40B4-BE49-F238E27FC236}">
                <a16:creationId xmlns:a16="http://schemas.microsoft.com/office/drawing/2014/main" id="{FFC8F983-82CF-4213-B4AF-031ED73EB2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1520" y="1154259"/>
            <a:ext cx="2453910" cy="1308531"/>
          </a:xfrm>
        </p:spPr>
        <p:txBody>
          <a:bodyPr lIns="360000" tIns="360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1</a:t>
            </a:r>
          </a:p>
          <a:p>
            <a:pPr lvl="0"/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pic>
        <p:nvPicPr>
          <p:cNvPr id="29" name="Bild 17">
            <a:extLst>
              <a:ext uri="{FF2B5EF4-FFF2-40B4-BE49-F238E27FC236}">
                <a16:creationId xmlns:a16="http://schemas.microsoft.com/office/drawing/2014/main" id="{1146E18E-FAE8-496E-AE85-BD423FBA9F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6991" y="1473075"/>
            <a:ext cx="540000" cy="540000"/>
          </a:xfrm>
          <a:prstGeom prst="rect">
            <a:avLst/>
          </a:prstGeom>
        </p:spPr>
      </p:pic>
      <p:pic>
        <p:nvPicPr>
          <p:cNvPr id="32" name="Bild 10">
            <a:extLst>
              <a:ext uri="{FF2B5EF4-FFF2-40B4-BE49-F238E27FC236}">
                <a16:creationId xmlns:a16="http://schemas.microsoft.com/office/drawing/2014/main" id="{44FE7FD4-84AC-4A2C-930B-EC23F749FC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110" y="1473075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5452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,Con,Consequenc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zöveg helye 3">
            <a:extLst>
              <a:ext uri="{FF2B5EF4-FFF2-40B4-BE49-F238E27FC236}">
                <a16:creationId xmlns:a16="http://schemas.microsoft.com/office/drawing/2014/main" id="{40630C61-54E9-438B-9EB6-C82D446182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026394"/>
            <a:ext cx="9144000" cy="2117105"/>
          </a:xfrm>
          <a:solidFill>
            <a:srgbClr val="EA1C0A"/>
          </a:solidFill>
        </p:spPr>
        <p:txBody>
          <a:bodyPr lIns="360000" tIns="36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hu-HU" dirty="0" err="1"/>
              <a:t>Consequence</a:t>
            </a:r>
            <a:endParaRPr lang="hu-HU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EEBE583D-902B-40CE-9B47-E8055C030713}"/>
              </a:ext>
            </a:extLst>
          </p:cNvPr>
          <p:cNvSpPr/>
          <p:nvPr userDrawn="1"/>
        </p:nvSpPr>
        <p:spPr>
          <a:xfrm>
            <a:off x="4572000" y="1145628"/>
            <a:ext cx="4572000" cy="1883944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8" name="Téglalap 7">
            <a:extLst>
              <a:ext uri="{FF2B5EF4-FFF2-40B4-BE49-F238E27FC236}">
                <a16:creationId xmlns:a16="http://schemas.microsoft.com/office/drawing/2014/main" id="{396FD44B-4D13-4546-8CA6-2EB52500A7F8}"/>
              </a:ext>
            </a:extLst>
          </p:cNvPr>
          <p:cNvSpPr/>
          <p:nvPr userDrawn="1"/>
        </p:nvSpPr>
        <p:spPr>
          <a:xfrm>
            <a:off x="1" y="1145628"/>
            <a:ext cx="4572000" cy="1883943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ctr"/>
          <a:lstStyle/>
          <a:p>
            <a:pPr algn="ctr"/>
            <a:endParaRPr lang="hu-HU"/>
          </a:p>
        </p:txBody>
      </p:sp>
      <p:sp>
        <p:nvSpPr>
          <p:cNvPr id="9" name="Szöveg helye 13">
            <a:extLst>
              <a:ext uri="{FF2B5EF4-FFF2-40B4-BE49-F238E27FC236}">
                <a16:creationId xmlns:a16="http://schemas.microsoft.com/office/drawing/2014/main" id="{82732DD2-8953-46C1-8CB0-89A0298A72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1154258"/>
            <a:ext cx="2453910" cy="1308531"/>
          </a:xfrm>
        </p:spPr>
        <p:txBody>
          <a:bodyPr lIns="360000" tIns="360000"/>
          <a:lstStyle>
            <a:lvl1pPr>
              <a:spcAft>
                <a:spcPts val="0"/>
              </a:spcAft>
              <a:defRPr sz="16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2</a:t>
            </a:r>
          </a:p>
          <a:p>
            <a:pPr lvl="0"/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sp>
        <p:nvSpPr>
          <p:cNvPr id="12" name="Szöveg helye 13">
            <a:extLst>
              <a:ext uri="{FF2B5EF4-FFF2-40B4-BE49-F238E27FC236}">
                <a16:creationId xmlns:a16="http://schemas.microsoft.com/office/drawing/2014/main" id="{B9AA8BBC-A250-4ABB-9B3D-7B5C5D6421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1520" y="1154259"/>
            <a:ext cx="2453910" cy="1308531"/>
          </a:xfrm>
        </p:spPr>
        <p:txBody>
          <a:bodyPr lIns="360000" tIns="360000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1</a:t>
            </a:r>
          </a:p>
          <a:p>
            <a:pPr lvl="0"/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0"/>
            <a:endParaRPr lang="hu-HU" dirty="0"/>
          </a:p>
        </p:txBody>
      </p:sp>
      <p:pic>
        <p:nvPicPr>
          <p:cNvPr id="13" name="Bild 17">
            <a:extLst>
              <a:ext uri="{FF2B5EF4-FFF2-40B4-BE49-F238E27FC236}">
                <a16:creationId xmlns:a16="http://schemas.microsoft.com/office/drawing/2014/main" id="{8A4DA324-39C8-4DDC-B03D-E7BE6D9306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6991" y="1473075"/>
            <a:ext cx="540000" cy="540000"/>
          </a:xfrm>
          <a:prstGeom prst="rect">
            <a:avLst/>
          </a:prstGeom>
        </p:spPr>
      </p:pic>
      <p:pic>
        <p:nvPicPr>
          <p:cNvPr id="14" name="Bild 10">
            <a:extLst>
              <a:ext uri="{FF2B5EF4-FFF2-40B4-BE49-F238E27FC236}">
                <a16:creationId xmlns:a16="http://schemas.microsoft.com/office/drawing/2014/main" id="{C8B65E85-E14C-4C0C-A439-7A3CBA434D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110" y="1473075"/>
            <a:ext cx="540000" cy="540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7FA22234-2DC9-4346-A3ED-33AEDE649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Pro,Con,Consequence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A50E05AC-3F88-433D-B5B6-BD9F93412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02707-009C-4B94-A4F5-F60D5D11BFF2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F244B06D-25C7-41B6-8F1B-2DD0A15631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E01BFFBF-C420-4EDC-8018-9D8EB3A40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Háromszög 9">
            <a:extLst>
              <a:ext uri="{FF2B5EF4-FFF2-40B4-BE49-F238E27FC236}">
                <a16:creationId xmlns:a16="http://schemas.microsoft.com/office/drawing/2014/main" id="{F2E79941-298C-4EF0-924F-06A41917C294}"/>
              </a:ext>
            </a:extLst>
          </p:cNvPr>
          <p:cNvSpPr/>
          <p:nvPr userDrawn="1"/>
        </p:nvSpPr>
        <p:spPr>
          <a:xfrm rot="10800000">
            <a:off x="2086694" y="3015015"/>
            <a:ext cx="398612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1" name="Háromszög 10">
            <a:extLst>
              <a:ext uri="{FF2B5EF4-FFF2-40B4-BE49-F238E27FC236}">
                <a16:creationId xmlns:a16="http://schemas.microsoft.com/office/drawing/2014/main" id="{C47FC379-3B7C-4DE8-89E9-F95356B39D57}"/>
              </a:ext>
            </a:extLst>
          </p:cNvPr>
          <p:cNvSpPr/>
          <p:nvPr userDrawn="1"/>
        </p:nvSpPr>
        <p:spPr>
          <a:xfrm rot="10800000">
            <a:off x="6950650" y="3019820"/>
            <a:ext cx="398612" cy="154151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36049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lict, Pres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D269A5E-597F-4D01-9C9B-E18E90B15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Conflict</a:t>
            </a:r>
            <a:r>
              <a:rPr lang="hu-HU" dirty="0"/>
              <a:t>, </a:t>
            </a:r>
            <a:r>
              <a:rPr lang="hu-HU" dirty="0" err="1"/>
              <a:t>Pressure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548FB379-099B-4280-9868-C0EAA5FF5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82546-2C6B-488A-9F12-9DF31095CA49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3A04E51A-2701-43C8-8346-C35F97DAB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CC348AE-B0C0-42E7-B64E-AA50B91ED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57110820-7EF9-4D04-8630-CE0AA1EA672D}"/>
              </a:ext>
            </a:extLst>
          </p:cNvPr>
          <p:cNvSpPr/>
          <p:nvPr userDrawn="1"/>
        </p:nvSpPr>
        <p:spPr>
          <a:xfrm>
            <a:off x="6132784" y="1439917"/>
            <a:ext cx="3011216" cy="3712702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A70D2F10-5FF6-4ED9-99D1-DA9E6644A3FA}"/>
              </a:ext>
            </a:extLst>
          </p:cNvPr>
          <p:cNvSpPr/>
          <p:nvPr userDrawn="1"/>
        </p:nvSpPr>
        <p:spPr>
          <a:xfrm>
            <a:off x="-2" y="1439917"/>
            <a:ext cx="3011216" cy="3703583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Háromszög 7">
            <a:extLst>
              <a:ext uri="{FF2B5EF4-FFF2-40B4-BE49-F238E27FC236}">
                <a16:creationId xmlns:a16="http://schemas.microsoft.com/office/drawing/2014/main" id="{B7DF9867-2152-467C-BC82-068D931CFFD3}"/>
              </a:ext>
            </a:extLst>
          </p:cNvPr>
          <p:cNvSpPr/>
          <p:nvPr userDrawn="1"/>
        </p:nvSpPr>
        <p:spPr>
          <a:xfrm rot="5400000">
            <a:off x="2872868" y="3214321"/>
            <a:ext cx="398612" cy="121920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9" name="Háromszög 8">
            <a:extLst>
              <a:ext uri="{FF2B5EF4-FFF2-40B4-BE49-F238E27FC236}">
                <a16:creationId xmlns:a16="http://schemas.microsoft.com/office/drawing/2014/main" id="{BCDE2EEA-1BCF-431E-A804-07D438ED8FF4}"/>
              </a:ext>
            </a:extLst>
          </p:cNvPr>
          <p:cNvSpPr/>
          <p:nvPr userDrawn="1"/>
        </p:nvSpPr>
        <p:spPr>
          <a:xfrm rot="16200000">
            <a:off x="5872518" y="3236260"/>
            <a:ext cx="398612" cy="121920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0" name="Szöveg helye 13">
            <a:extLst>
              <a:ext uri="{FF2B5EF4-FFF2-40B4-BE49-F238E27FC236}">
                <a16:creationId xmlns:a16="http://schemas.microsoft.com/office/drawing/2014/main" id="{F05B05CF-3CBE-4206-949D-4AF23D2928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2784" y="1442763"/>
            <a:ext cx="2453910" cy="538437"/>
          </a:xfrm>
        </p:spPr>
        <p:txBody>
          <a:bodyPr lIns="360000" tIns="180000"/>
          <a:lstStyle>
            <a:lvl1pPr>
              <a:spcAft>
                <a:spcPts val="0"/>
              </a:spcAft>
              <a:defRPr sz="16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2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11" name="Szöveg helye 13">
            <a:extLst>
              <a:ext uri="{FF2B5EF4-FFF2-40B4-BE49-F238E27FC236}">
                <a16:creationId xmlns:a16="http://schemas.microsoft.com/office/drawing/2014/main" id="{DFB03880-C9EA-4781-A046-AAB74DC99E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1442763"/>
            <a:ext cx="2453910" cy="538437"/>
          </a:xfrm>
        </p:spPr>
        <p:txBody>
          <a:bodyPr lIns="360000" tIns="180000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Option</a:t>
            </a:r>
            <a:r>
              <a:rPr lang="hu-HU" dirty="0"/>
              <a:t> 1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12" name="Szöveg helye 13">
            <a:extLst>
              <a:ext uri="{FF2B5EF4-FFF2-40B4-BE49-F238E27FC236}">
                <a16:creationId xmlns:a16="http://schemas.microsoft.com/office/drawing/2014/main" id="{69385762-FDAA-428A-B7F2-A273A9C145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62959" y="2379274"/>
            <a:ext cx="2018080" cy="1437277"/>
          </a:xfrm>
        </p:spPr>
        <p:txBody>
          <a:bodyPr lIns="0" tIns="0" anchor="ctr"/>
          <a:lstStyle>
            <a:lvl1pPr algn="l">
              <a:defRPr sz="1800">
                <a:solidFill>
                  <a:srgbClr val="EA1C0A"/>
                </a:solidFill>
                <a:latin typeface="+mj-lt"/>
              </a:defRPr>
            </a:lvl1pPr>
            <a:lvl2pPr>
              <a:defRPr>
                <a:solidFill>
                  <a:srgbClr val="B00402"/>
                </a:solidFill>
              </a:defRPr>
            </a:lvl2pPr>
            <a:lvl3pPr>
              <a:defRPr>
                <a:solidFill>
                  <a:srgbClr val="B00402"/>
                </a:solidFill>
              </a:defRPr>
            </a:lvl3pPr>
            <a:lvl4pPr>
              <a:defRPr>
                <a:solidFill>
                  <a:srgbClr val="B00402"/>
                </a:solidFill>
              </a:defRPr>
            </a:lvl4pPr>
            <a:lvl5pPr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Text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</p:txBody>
      </p:sp>
      <p:sp>
        <p:nvSpPr>
          <p:cNvPr id="13" name="Szöveg helye 13">
            <a:extLst>
              <a:ext uri="{FF2B5EF4-FFF2-40B4-BE49-F238E27FC236}">
                <a16:creationId xmlns:a16="http://schemas.microsoft.com/office/drawing/2014/main" id="{EEAADB65-A0BA-4FE5-863E-100D37D6068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1981200"/>
            <a:ext cx="3011214" cy="2185987"/>
          </a:xfrm>
        </p:spPr>
        <p:txBody>
          <a:bodyPr lIns="360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5" name="Szöveg helye 13">
            <a:extLst>
              <a:ext uri="{FF2B5EF4-FFF2-40B4-BE49-F238E27FC236}">
                <a16:creationId xmlns:a16="http://schemas.microsoft.com/office/drawing/2014/main" id="{6F2349DC-E018-471E-AB92-3295BD197F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784" y="1981200"/>
            <a:ext cx="3011216" cy="2185987"/>
          </a:xfrm>
        </p:spPr>
        <p:txBody>
          <a:bodyPr lIns="360000" tIns="0"/>
          <a:lstStyle>
            <a:lvl1pPr>
              <a:spcAft>
                <a:spcPts val="0"/>
              </a:spcAft>
              <a:defRPr sz="1600"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 sz="1100"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 sz="1100"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16033226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nce/Ri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8">
            <a:extLst>
              <a:ext uri="{FF2B5EF4-FFF2-40B4-BE49-F238E27FC236}">
                <a16:creationId xmlns:a16="http://schemas.microsoft.com/office/drawing/2014/main" id="{A0B87001-D333-42D2-B755-C471399CF3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350" y="1951038"/>
            <a:ext cx="2095500" cy="2314575"/>
          </a:xfrm>
          <a:solidFill>
            <a:srgbClr val="EA1C0A"/>
          </a:solidFill>
        </p:spPr>
        <p:txBody>
          <a:bodyPr lIns="108000" tIns="108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hance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0" name="Szöveg helye 8">
            <a:extLst>
              <a:ext uri="{FF2B5EF4-FFF2-40B4-BE49-F238E27FC236}">
                <a16:creationId xmlns:a16="http://schemas.microsoft.com/office/drawing/2014/main" id="{4FE11572-C698-4416-B073-3D2FA91FD4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2000" y="1951037"/>
            <a:ext cx="2095500" cy="2314575"/>
          </a:xfrm>
          <a:solidFill>
            <a:srgbClr val="E3E000"/>
          </a:solidFill>
        </p:spPr>
        <p:txBody>
          <a:bodyPr lIns="108000" tIns="108000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  <a:lvl2pPr>
              <a:lnSpc>
                <a:spcPct val="100000"/>
              </a:lnSpc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B00402"/>
                </a:solidFill>
              </a:defRPr>
            </a:lvl3pPr>
            <a:lvl4pPr>
              <a:lnSpc>
                <a:spcPct val="100000"/>
              </a:lnSpc>
              <a:defRPr>
                <a:solidFill>
                  <a:srgbClr val="B00402"/>
                </a:solidFill>
              </a:defRPr>
            </a:lvl4pPr>
            <a:lvl5pPr>
              <a:lnSpc>
                <a:spcPct val="100000"/>
              </a:lnSpc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Risk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1" name="Háromszög 10">
            <a:extLst>
              <a:ext uri="{FF2B5EF4-FFF2-40B4-BE49-F238E27FC236}">
                <a16:creationId xmlns:a16="http://schemas.microsoft.com/office/drawing/2014/main" id="{62328B14-3918-4955-910D-A6F5A8AAD7D3}"/>
              </a:ext>
            </a:extLst>
          </p:cNvPr>
          <p:cNvSpPr/>
          <p:nvPr userDrawn="1"/>
        </p:nvSpPr>
        <p:spPr>
          <a:xfrm>
            <a:off x="1489794" y="1740090"/>
            <a:ext cx="398612" cy="210948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" name="Háromszög 12">
            <a:extLst>
              <a:ext uri="{FF2B5EF4-FFF2-40B4-BE49-F238E27FC236}">
                <a16:creationId xmlns:a16="http://schemas.microsoft.com/office/drawing/2014/main" id="{A757BE0D-571D-4155-8CBA-6AF03338478A}"/>
              </a:ext>
            </a:extLst>
          </p:cNvPr>
          <p:cNvSpPr/>
          <p:nvPr userDrawn="1"/>
        </p:nvSpPr>
        <p:spPr>
          <a:xfrm>
            <a:off x="3980444" y="1740089"/>
            <a:ext cx="398612" cy="210948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93BE8CF-586E-470C-9401-C82EFF8CA265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hance</a:t>
            </a:r>
            <a:r>
              <a:rPr lang="hu-HU" dirty="0"/>
              <a:t> / </a:t>
            </a:r>
            <a:r>
              <a:rPr lang="hu-HU" dirty="0" err="1"/>
              <a:t>Risk</a:t>
            </a:r>
            <a:endParaRPr lang="en-GB" dirty="0"/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7510E6F2-B814-46E8-8CFE-39EF3B97C067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2" name="Dátum helye 2">
            <a:extLst>
              <a:ext uri="{FF2B5EF4-FFF2-40B4-BE49-F238E27FC236}">
                <a16:creationId xmlns:a16="http://schemas.microsoft.com/office/drawing/2014/main" id="{7D0C0722-718D-430D-9566-E82B34938E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44818EC0-BC22-4445-B15F-009DFE08FDE7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4" name="Dia számának helye 4">
            <a:extLst>
              <a:ext uri="{FF2B5EF4-FFF2-40B4-BE49-F238E27FC236}">
                <a16:creationId xmlns:a16="http://schemas.microsoft.com/office/drawing/2014/main" id="{63438711-8F4B-4766-9E6C-396318975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043400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0C178692-45F3-41BD-839E-16A2E68B17B4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Matrix</a:t>
            </a:r>
            <a:endParaRPr lang="en-GB" dirty="0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39E45918-3B5C-4669-8793-6D7557619525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8" name="Dátum helye 2">
            <a:extLst>
              <a:ext uri="{FF2B5EF4-FFF2-40B4-BE49-F238E27FC236}">
                <a16:creationId xmlns:a16="http://schemas.microsoft.com/office/drawing/2014/main" id="{6696AA62-02AB-4322-A2E4-C36F0A023C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EB21554-C71F-48D6-A5B5-080A94FDAEEF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9" name="Dia számának helye 4">
            <a:extLst>
              <a:ext uri="{FF2B5EF4-FFF2-40B4-BE49-F238E27FC236}">
                <a16:creationId xmlns:a16="http://schemas.microsoft.com/office/drawing/2014/main" id="{E02AFD53-71C3-4FD9-87FE-2FED03630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446871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1A6FA3C6-A48D-462B-9F17-A7927AF2BD1F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Matrix</a:t>
            </a:r>
            <a:endParaRPr lang="en-GB" dirty="0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7B37AE2E-9078-4453-9F93-BFF2B8CCB72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8" name="Dátum helye 2">
            <a:extLst>
              <a:ext uri="{FF2B5EF4-FFF2-40B4-BE49-F238E27FC236}">
                <a16:creationId xmlns:a16="http://schemas.microsoft.com/office/drawing/2014/main" id="{7DFB8A3F-1355-4FCA-A9F1-787048AB56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2F546687-3D31-4614-9C1A-60B21811A480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9" name="Dia számának helye 4">
            <a:extLst>
              <a:ext uri="{FF2B5EF4-FFF2-40B4-BE49-F238E27FC236}">
                <a16:creationId xmlns:a16="http://schemas.microsoft.com/office/drawing/2014/main" id="{7738FB83-3645-448B-B5FB-9B2318AEF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844101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gement Summary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7B37AE2E-9078-4453-9F93-BFF2B8CCB72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grpSp>
        <p:nvGrpSpPr>
          <p:cNvPr id="27" name="Gruppierung 2">
            <a:extLst>
              <a:ext uri="{FF2B5EF4-FFF2-40B4-BE49-F238E27FC236}">
                <a16:creationId xmlns:a16="http://schemas.microsoft.com/office/drawing/2014/main" id="{2765EA57-E537-465E-B696-B92269B2D058}"/>
              </a:ext>
            </a:extLst>
          </p:cNvPr>
          <p:cNvGrpSpPr/>
          <p:nvPr userDrawn="1"/>
        </p:nvGrpSpPr>
        <p:grpSpPr>
          <a:xfrm>
            <a:off x="453522" y="1473140"/>
            <a:ext cx="890202" cy="3191088"/>
            <a:chOff x="464357" y="1494904"/>
            <a:chExt cx="890202" cy="3191088"/>
          </a:xfrm>
        </p:grpSpPr>
        <p:pic>
          <p:nvPicPr>
            <p:cNvPr id="28" name="Bild 62">
              <a:extLst>
                <a:ext uri="{FF2B5EF4-FFF2-40B4-BE49-F238E27FC236}">
                  <a16:creationId xmlns:a16="http://schemas.microsoft.com/office/drawing/2014/main" id="{B38A1FFE-72E8-4CE1-AC37-CD1BF9F2F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191" y="4049934"/>
              <a:ext cx="636058" cy="636058"/>
            </a:xfrm>
            <a:prstGeom prst="rect">
              <a:avLst/>
            </a:prstGeom>
          </p:spPr>
        </p:pic>
        <p:pic>
          <p:nvPicPr>
            <p:cNvPr id="29" name="Bild 66">
              <a:extLst>
                <a:ext uri="{FF2B5EF4-FFF2-40B4-BE49-F238E27FC236}">
                  <a16:creationId xmlns:a16="http://schemas.microsoft.com/office/drawing/2014/main" id="{DD4F6744-F99A-47B4-B528-6AF780AE24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960" y="3212782"/>
              <a:ext cx="636058" cy="636058"/>
            </a:xfrm>
            <a:prstGeom prst="rect">
              <a:avLst/>
            </a:prstGeom>
          </p:spPr>
        </p:pic>
        <p:pic>
          <p:nvPicPr>
            <p:cNvPr id="30" name="Bild 67">
              <a:extLst>
                <a:ext uri="{FF2B5EF4-FFF2-40B4-BE49-F238E27FC236}">
                  <a16:creationId xmlns:a16="http://schemas.microsoft.com/office/drawing/2014/main" id="{6ECE060B-6B07-44F7-8E6A-CF4F76EF3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57" y="2222668"/>
              <a:ext cx="890202" cy="890202"/>
            </a:xfrm>
            <a:prstGeom prst="rect">
              <a:avLst/>
            </a:prstGeom>
          </p:spPr>
        </p:pic>
        <p:pic>
          <p:nvPicPr>
            <p:cNvPr id="31" name="Bild 68">
              <a:extLst>
                <a:ext uri="{FF2B5EF4-FFF2-40B4-BE49-F238E27FC236}">
                  <a16:creationId xmlns:a16="http://schemas.microsoft.com/office/drawing/2014/main" id="{4B225486-8DF2-48CF-821D-E68DECA69D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47" t="16516" r="17767" b="15301"/>
            <a:stretch/>
          </p:blipFill>
          <p:spPr>
            <a:xfrm>
              <a:off x="608501" y="1494904"/>
              <a:ext cx="581892" cy="610511"/>
            </a:xfrm>
            <a:prstGeom prst="rect">
              <a:avLst/>
            </a:prstGeom>
          </p:spPr>
        </p:pic>
      </p:grpSp>
      <p:cxnSp>
        <p:nvCxnSpPr>
          <p:cNvPr id="32" name="Straight Connector 34">
            <a:extLst>
              <a:ext uri="{FF2B5EF4-FFF2-40B4-BE49-F238E27FC236}">
                <a16:creationId xmlns:a16="http://schemas.microsoft.com/office/drawing/2014/main" id="{BEC44743-C0D4-47CB-8FC9-D4EE1FE5267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2226435"/>
            <a:ext cx="57488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9">
            <a:extLst>
              <a:ext uri="{FF2B5EF4-FFF2-40B4-BE49-F238E27FC236}">
                <a16:creationId xmlns:a16="http://schemas.microsoft.com/office/drawing/2014/main" id="{71E4C9D3-A2DC-4501-A037-AC57A18BD61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3932257"/>
            <a:ext cx="57488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55">
            <a:extLst>
              <a:ext uri="{FF2B5EF4-FFF2-40B4-BE49-F238E27FC236}">
                <a16:creationId xmlns:a16="http://schemas.microsoft.com/office/drawing/2014/main" id="{59B9A648-2E2A-483E-A5A5-246523AEFE4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3079346"/>
            <a:ext cx="57488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2FBC429-71CB-4180-A7F2-0AE7CE01F4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1384608"/>
            <a:ext cx="57488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CD38D766-D948-4DBB-86B1-A69CE9787A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92935" y="1529108"/>
            <a:ext cx="5748898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</p:txBody>
      </p: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F012F4E0-62C2-4CA6-9EF3-E9B9E7B3E4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92935" y="2370935"/>
            <a:ext cx="5748898" cy="470371"/>
          </a:xfrm>
        </p:spPr>
        <p:txBody>
          <a:bodyPr lIns="36000" anchor="ctr"/>
          <a:lstStyle>
            <a:lvl1pPr algn="l"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cipsam</a:t>
            </a:r>
            <a:endParaRPr lang="hu-HU" dirty="0"/>
          </a:p>
        </p:txBody>
      </p:sp>
      <p:sp>
        <p:nvSpPr>
          <p:cNvPr id="38" name="Szöveg helye 26">
            <a:extLst>
              <a:ext uri="{FF2B5EF4-FFF2-40B4-BE49-F238E27FC236}">
                <a16:creationId xmlns:a16="http://schemas.microsoft.com/office/drawing/2014/main" id="{80138A0F-3883-45A4-BB94-EFA8A4D019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94878" y="3223845"/>
            <a:ext cx="5748898" cy="470371"/>
          </a:xfrm>
        </p:spPr>
        <p:txBody>
          <a:bodyPr lIns="36000" anchor="ctr"/>
          <a:lstStyle>
            <a:lvl1pPr algn="l"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Consetetur</a:t>
            </a:r>
            <a:endParaRPr lang="hu-HU" dirty="0"/>
          </a:p>
        </p:txBody>
      </p:sp>
      <p:sp>
        <p:nvSpPr>
          <p:cNvPr id="39" name="Szöveg helye 26">
            <a:extLst>
              <a:ext uri="{FF2B5EF4-FFF2-40B4-BE49-F238E27FC236}">
                <a16:creationId xmlns:a16="http://schemas.microsoft.com/office/drawing/2014/main" id="{41E368B4-035F-4034-983D-2837CF726E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94878" y="4099253"/>
            <a:ext cx="5748898" cy="470371"/>
          </a:xfrm>
        </p:spPr>
        <p:txBody>
          <a:bodyPr lIns="36000" anchor="ctr"/>
          <a:lstStyle>
            <a:lvl1pPr algn="l"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Consetetur</a:t>
            </a:r>
            <a:endParaRPr lang="hu-HU" dirty="0"/>
          </a:p>
        </p:txBody>
      </p:sp>
      <p:sp>
        <p:nvSpPr>
          <p:cNvPr id="40" name="Cím 1">
            <a:extLst>
              <a:ext uri="{FF2B5EF4-FFF2-40B4-BE49-F238E27FC236}">
                <a16:creationId xmlns:a16="http://schemas.microsoft.com/office/drawing/2014/main" id="{B6A44056-91C1-4F84-A3F4-92F138532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Management </a:t>
            </a:r>
            <a:r>
              <a:rPr lang="hu-HU" dirty="0" err="1"/>
              <a:t>summary</a:t>
            </a:r>
            <a:r>
              <a:rPr lang="hu-HU" dirty="0"/>
              <a:t> 1/3</a:t>
            </a:r>
          </a:p>
        </p:txBody>
      </p:sp>
      <p:sp>
        <p:nvSpPr>
          <p:cNvPr id="19" name="Dátum helye 2">
            <a:extLst>
              <a:ext uri="{FF2B5EF4-FFF2-40B4-BE49-F238E27FC236}">
                <a16:creationId xmlns:a16="http://schemas.microsoft.com/office/drawing/2014/main" id="{89A83C39-027D-4778-9714-F6019F5D8C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690975D-78CA-4664-8CBC-09D9A93A5D2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0" name="Dia számának helye 4">
            <a:extLst>
              <a:ext uri="{FF2B5EF4-FFF2-40B4-BE49-F238E27FC236}">
                <a16:creationId xmlns:a16="http://schemas.microsoft.com/office/drawing/2014/main" id="{284A232D-1EAF-4F64-A82A-7EC49DD7B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300840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Summary 1/3_2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Bild 25">
            <a:extLst>
              <a:ext uri="{FF2B5EF4-FFF2-40B4-BE49-F238E27FC236}">
                <a16:creationId xmlns:a16="http://schemas.microsoft.com/office/drawing/2014/main" id="{0C690759-6238-4E42-AFD7-4E58766A3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22" y="1429414"/>
            <a:ext cx="720000" cy="720000"/>
          </a:xfrm>
          <a:prstGeom prst="rect">
            <a:avLst/>
          </a:prstGeom>
        </p:spPr>
      </p:pic>
      <p:pic>
        <p:nvPicPr>
          <p:cNvPr id="53" name="Bild 26">
            <a:extLst>
              <a:ext uri="{FF2B5EF4-FFF2-40B4-BE49-F238E27FC236}">
                <a16:creationId xmlns:a16="http://schemas.microsoft.com/office/drawing/2014/main" id="{E4EA15BD-A933-4CFB-8B59-56AF61E6B1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22" y="2288396"/>
            <a:ext cx="720000" cy="720000"/>
          </a:xfrm>
          <a:prstGeom prst="rect">
            <a:avLst/>
          </a:prstGeom>
        </p:spPr>
      </p:pic>
      <p:pic>
        <p:nvPicPr>
          <p:cNvPr id="54" name="Bild 30">
            <a:extLst>
              <a:ext uri="{FF2B5EF4-FFF2-40B4-BE49-F238E27FC236}">
                <a16:creationId xmlns:a16="http://schemas.microsoft.com/office/drawing/2014/main" id="{E0603212-C0D5-4FB2-876F-94EC64969B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22" y="3147378"/>
            <a:ext cx="720000" cy="720000"/>
          </a:xfrm>
          <a:prstGeom prst="rect">
            <a:avLst/>
          </a:prstGeom>
        </p:spPr>
      </p:pic>
      <p:pic>
        <p:nvPicPr>
          <p:cNvPr id="55" name="Bild 31">
            <a:extLst>
              <a:ext uri="{FF2B5EF4-FFF2-40B4-BE49-F238E27FC236}">
                <a16:creationId xmlns:a16="http://schemas.microsoft.com/office/drawing/2014/main" id="{AE379F6B-889B-4D3F-A329-B90F9CE460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22" y="4006360"/>
            <a:ext cx="720000" cy="720000"/>
          </a:xfrm>
          <a:prstGeom prst="rect">
            <a:avLst/>
          </a:prstGeom>
        </p:spPr>
      </p:pic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7B37AE2E-9078-4453-9F93-BFF2B8CCB72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cxnSp>
        <p:nvCxnSpPr>
          <p:cNvPr id="32" name="Straight Connector 34">
            <a:extLst>
              <a:ext uri="{FF2B5EF4-FFF2-40B4-BE49-F238E27FC236}">
                <a16:creationId xmlns:a16="http://schemas.microsoft.com/office/drawing/2014/main" id="{BEC44743-C0D4-47CB-8FC9-D4EE1FE5267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2226435"/>
            <a:ext cx="5748898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9">
            <a:extLst>
              <a:ext uri="{FF2B5EF4-FFF2-40B4-BE49-F238E27FC236}">
                <a16:creationId xmlns:a16="http://schemas.microsoft.com/office/drawing/2014/main" id="{71E4C9D3-A2DC-4501-A037-AC57A18BD61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3932257"/>
            <a:ext cx="5748898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55">
            <a:extLst>
              <a:ext uri="{FF2B5EF4-FFF2-40B4-BE49-F238E27FC236}">
                <a16:creationId xmlns:a16="http://schemas.microsoft.com/office/drawing/2014/main" id="{59B9A648-2E2A-483E-A5A5-246523AEFE4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3079346"/>
            <a:ext cx="5748898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2FBC429-71CB-4180-A7F2-0AE7CE01F4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94878" y="1384608"/>
            <a:ext cx="5748898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CD38D766-D948-4DBB-86B1-A69CE9787A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92935" y="1529108"/>
            <a:ext cx="5748898" cy="470371"/>
          </a:xfrm>
        </p:spPr>
        <p:txBody>
          <a:bodyPr lIns="36000" anchor="ctr"/>
          <a:lstStyle>
            <a:lvl1pPr algn="l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</p:txBody>
      </p: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F012F4E0-62C2-4CA6-9EF3-E9B9E7B3E4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92935" y="2370935"/>
            <a:ext cx="5748898" cy="470371"/>
          </a:xfrm>
        </p:spPr>
        <p:txBody>
          <a:bodyPr lIns="36000" anchor="ctr"/>
          <a:lstStyle>
            <a:lvl1pPr algn="l"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cipsam</a:t>
            </a:r>
            <a:endParaRPr lang="hu-HU" dirty="0"/>
          </a:p>
        </p:txBody>
      </p:sp>
      <p:sp>
        <p:nvSpPr>
          <p:cNvPr id="38" name="Szöveg helye 26">
            <a:extLst>
              <a:ext uri="{FF2B5EF4-FFF2-40B4-BE49-F238E27FC236}">
                <a16:creationId xmlns:a16="http://schemas.microsoft.com/office/drawing/2014/main" id="{80138A0F-3883-45A4-BB94-EFA8A4D019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94878" y="3223845"/>
            <a:ext cx="5748898" cy="470371"/>
          </a:xfrm>
        </p:spPr>
        <p:txBody>
          <a:bodyPr lIns="36000" anchor="ctr"/>
          <a:lstStyle>
            <a:lvl1pPr algn="l"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Consetetur</a:t>
            </a:r>
            <a:endParaRPr lang="hu-HU" dirty="0"/>
          </a:p>
        </p:txBody>
      </p:sp>
      <p:sp>
        <p:nvSpPr>
          <p:cNvPr id="39" name="Szöveg helye 26">
            <a:extLst>
              <a:ext uri="{FF2B5EF4-FFF2-40B4-BE49-F238E27FC236}">
                <a16:creationId xmlns:a16="http://schemas.microsoft.com/office/drawing/2014/main" id="{41E368B4-035F-4034-983D-2837CF726E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94878" y="4099253"/>
            <a:ext cx="5748898" cy="470371"/>
          </a:xfrm>
        </p:spPr>
        <p:txBody>
          <a:bodyPr lIns="36000" anchor="ctr"/>
          <a:lstStyle>
            <a:lvl1pPr algn="l"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Consetetur</a:t>
            </a:r>
            <a:endParaRPr lang="hu-HU" dirty="0"/>
          </a:p>
        </p:txBody>
      </p:sp>
      <p:pic>
        <p:nvPicPr>
          <p:cNvPr id="48" name="Bild 27">
            <a:extLst>
              <a:ext uri="{FF2B5EF4-FFF2-40B4-BE49-F238E27FC236}">
                <a16:creationId xmlns:a16="http://schemas.microsoft.com/office/drawing/2014/main" id="{E6F53708-0A43-49BE-97DF-7C56B50C9B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90" y="4038174"/>
            <a:ext cx="636058" cy="636058"/>
          </a:xfrm>
          <a:prstGeom prst="rect">
            <a:avLst/>
          </a:prstGeom>
        </p:spPr>
      </p:pic>
      <p:pic>
        <p:nvPicPr>
          <p:cNvPr id="49" name="Bild 33">
            <a:extLst>
              <a:ext uri="{FF2B5EF4-FFF2-40B4-BE49-F238E27FC236}">
                <a16:creationId xmlns:a16="http://schemas.microsoft.com/office/drawing/2014/main" id="{AC6E2002-970A-4DDD-9DA2-B001FF11E2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47" t="16516" r="17767" b="15301"/>
          <a:stretch/>
        </p:blipFill>
        <p:spPr>
          <a:xfrm>
            <a:off x="457200" y="1489504"/>
            <a:ext cx="581892" cy="610511"/>
          </a:xfrm>
          <a:prstGeom prst="rect">
            <a:avLst/>
          </a:prstGeom>
        </p:spPr>
      </p:pic>
      <p:pic>
        <p:nvPicPr>
          <p:cNvPr id="50" name="Bild 37">
            <a:extLst>
              <a:ext uri="{FF2B5EF4-FFF2-40B4-BE49-F238E27FC236}">
                <a16:creationId xmlns:a16="http://schemas.microsoft.com/office/drawing/2014/main" id="{C6EC5196-A4E2-43E2-945C-779EE44430F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659" y="3201022"/>
            <a:ext cx="636058" cy="636058"/>
          </a:xfrm>
          <a:prstGeom prst="rect">
            <a:avLst/>
          </a:prstGeom>
        </p:spPr>
      </p:pic>
      <p:pic>
        <p:nvPicPr>
          <p:cNvPr id="51" name="Bild 51">
            <a:extLst>
              <a:ext uri="{FF2B5EF4-FFF2-40B4-BE49-F238E27FC236}">
                <a16:creationId xmlns:a16="http://schemas.microsoft.com/office/drawing/2014/main" id="{A5214DF5-BD3F-48EF-9041-649399C43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56" y="2189144"/>
            <a:ext cx="890202" cy="890202"/>
          </a:xfrm>
          <a:prstGeom prst="rect">
            <a:avLst/>
          </a:prstGeom>
        </p:spPr>
      </p:pic>
      <p:sp>
        <p:nvSpPr>
          <p:cNvPr id="22" name="Cím 1">
            <a:extLst>
              <a:ext uri="{FF2B5EF4-FFF2-40B4-BE49-F238E27FC236}">
                <a16:creationId xmlns:a16="http://schemas.microsoft.com/office/drawing/2014/main" id="{E9A2BD32-F642-40DC-AFD9-794E47846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hu-HU" dirty="0"/>
              <a:t>Management </a:t>
            </a:r>
            <a:r>
              <a:rPr lang="hu-HU" dirty="0" err="1"/>
              <a:t>Summary</a:t>
            </a:r>
            <a:r>
              <a:rPr lang="hu-HU" dirty="0"/>
              <a:t> 1/3</a:t>
            </a:r>
          </a:p>
        </p:txBody>
      </p:sp>
      <p:sp>
        <p:nvSpPr>
          <p:cNvPr id="23" name="Dátum helye 2">
            <a:extLst>
              <a:ext uri="{FF2B5EF4-FFF2-40B4-BE49-F238E27FC236}">
                <a16:creationId xmlns:a16="http://schemas.microsoft.com/office/drawing/2014/main" id="{DC00AE0E-3E52-4C5E-B162-D4E3A4E6A0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A9362E91-2BD3-4A88-84E7-4874D6F9916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4" name="Dia számának helye 4">
            <a:extLst>
              <a:ext uri="{FF2B5EF4-FFF2-40B4-BE49-F238E27FC236}">
                <a16:creationId xmlns:a16="http://schemas.microsoft.com/office/drawing/2014/main" id="{2A408A87-E421-4F74-8D83-800116B19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8667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7B37AE2E-9078-4453-9F93-BFF2B8CCB72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cxnSp>
        <p:nvCxnSpPr>
          <p:cNvPr id="20" name="Gerade Verbindung 6">
            <a:extLst>
              <a:ext uri="{FF2B5EF4-FFF2-40B4-BE49-F238E27FC236}">
                <a16:creationId xmlns:a16="http://schemas.microsoft.com/office/drawing/2014/main" id="{8DE4CE1B-FD8E-47FC-B2B2-1FD44EB41C2D}"/>
              </a:ext>
            </a:extLst>
          </p:cNvPr>
          <p:cNvCxnSpPr/>
          <p:nvPr userDrawn="1"/>
        </p:nvCxnSpPr>
        <p:spPr>
          <a:xfrm>
            <a:off x="970558" y="4499434"/>
            <a:ext cx="541385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8">
            <a:extLst>
              <a:ext uri="{FF2B5EF4-FFF2-40B4-BE49-F238E27FC236}">
                <a16:creationId xmlns:a16="http://schemas.microsoft.com/office/drawing/2014/main" id="{2ED6A59C-6B7E-436D-9BA1-1AE58FC2BB5C}"/>
              </a:ext>
            </a:extLst>
          </p:cNvPr>
          <p:cNvCxnSpPr/>
          <p:nvPr userDrawn="1"/>
        </p:nvCxnSpPr>
        <p:spPr>
          <a:xfrm flipV="1">
            <a:off x="970557" y="1550166"/>
            <a:ext cx="0" cy="2949269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0">
            <a:extLst>
              <a:ext uri="{FF2B5EF4-FFF2-40B4-BE49-F238E27FC236}">
                <a16:creationId xmlns:a16="http://schemas.microsoft.com/office/drawing/2014/main" id="{1C2DA8EA-12B7-4E28-A6E0-E140222D7C4E}"/>
              </a:ext>
            </a:extLst>
          </p:cNvPr>
          <p:cNvCxnSpPr/>
          <p:nvPr userDrawn="1"/>
        </p:nvCxnSpPr>
        <p:spPr>
          <a:xfrm>
            <a:off x="970557" y="1821345"/>
            <a:ext cx="516167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4">
            <a:extLst>
              <a:ext uri="{FF2B5EF4-FFF2-40B4-BE49-F238E27FC236}">
                <a16:creationId xmlns:a16="http://schemas.microsoft.com/office/drawing/2014/main" id="{B242395E-E307-4220-808E-CE07692B9E5E}"/>
              </a:ext>
            </a:extLst>
          </p:cNvPr>
          <p:cNvCxnSpPr/>
          <p:nvPr userDrawn="1"/>
        </p:nvCxnSpPr>
        <p:spPr>
          <a:xfrm>
            <a:off x="970557" y="2490868"/>
            <a:ext cx="516167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5">
            <a:extLst>
              <a:ext uri="{FF2B5EF4-FFF2-40B4-BE49-F238E27FC236}">
                <a16:creationId xmlns:a16="http://schemas.microsoft.com/office/drawing/2014/main" id="{6DA87DC2-20DF-4287-92DF-E6720CB88B9E}"/>
              </a:ext>
            </a:extLst>
          </p:cNvPr>
          <p:cNvCxnSpPr/>
          <p:nvPr userDrawn="1"/>
        </p:nvCxnSpPr>
        <p:spPr>
          <a:xfrm>
            <a:off x="970557" y="3160391"/>
            <a:ext cx="516167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6">
            <a:extLst>
              <a:ext uri="{FF2B5EF4-FFF2-40B4-BE49-F238E27FC236}">
                <a16:creationId xmlns:a16="http://schemas.microsoft.com/office/drawing/2014/main" id="{81FEE26D-98B3-4D4F-BD5F-63039A0E68B8}"/>
              </a:ext>
            </a:extLst>
          </p:cNvPr>
          <p:cNvCxnSpPr/>
          <p:nvPr userDrawn="1"/>
        </p:nvCxnSpPr>
        <p:spPr>
          <a:xfrm>
            <a:off x="970557" y="3829914"/>
            <a:ext cx="516167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:a16="http://schemas.microsoft.com/office/drawing/2014/main" id="{4439DA3F-DE6D-43BC-A82A-BC21FE4BBB05}"/>
              </a:ext>
            </a:extLst>
          </p:cNvPr>
          <p:cNvCxnSpPr/>
          <p:nvPr userDrawn="1"/>
        </p:nvCxnSpPr>
        <p:spPr>
          <a:xfrm>
            <a:off x="2260976" y="1821344"/>
            <a:ext cx="0" cy="267809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1">
            <a:extLst>
              <a:ext uri="{FF2B5EF4-FFF2-40B4-BE49-F238E27FC236}">
                <a16:creationId xmlns:a16="http://schemas.microsoft.com/office/drawing/2014/main" id="{350523B7-2E02-4F5F-A832-138E444DBB54}"/>
              </a:ext>
            </a:extLst>
          </p:cNvPr>
          <p:cNvCxnSpPr/>
          <p:nvPr userDrawn="1"/>
        </p:nvCxnSpPr>
        <p:spPr>
          <a:xfrm>
            <a:off x="6132228" y="1821344"/>
            <a:ext cx="0" cy="267809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2">
            <a:extLst>
              <a:ext uri="{FF2B5EF4-FFF2-40B4-BE49-F238E27FC236}">
                <a16:creationId xmlns:a16="http://schemas.microsoft.com/office/drawing/2014/main" id="{6B309F66-B17B-4653-853E-D9AE7CC64AB9}"/>
              </a:ext>
            </a:extLst>
          </p:cNvPr>
          <p:cNvCxnSpPr/>
          <p:nvPr userDrawn="1"/>
        </p:nvCxnSpPr>
        <p:spPr>
          <a:xfrm>
            <a:off x="4841812" y="1821344"/>
            <a:ext cx="0" cy="267809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3">
            <a:extLst>
              <a:ext uri="{FF2B5EF4-FFF2-40B4-BE49-F238E27FC236}">
                <a16:creationId xmlns:a16="http://schemas.microsoft.com/office/drawing/2014/main" id="{D0DE5F78-AD87-4930-916D-FFAE3C4FFC40}"/>
              </a:ext>
            </a:extLst>
          </p:cNvPr>
          <p:cNvCxnSpPr/>
          <p:nvPr userDrawn="1"/>
        </p:nvCxnSpPr>
        <p:spPr>
          <a:xfrm>
            <a:off x="3551394" y="1821344"/>
            <a:ext cx="0" cy="267809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4911F31A-94CC-416D-BF56-E1EE0B0F56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148" y="2049434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2" name="Szöveg helye 26">
            <a:extLst>
              <a:ext uri="{FF2B5EF4-FFF2-40B4-BE49-F238E27FC236}">
                <a16:creationId xmlns:a16="http://schemas.microsoft.com/office/drawing/2014/main" id="{D8A5799C-6F5D-40F7-AD06-0C93EFEBDA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7148" y="2701390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3" name="Szöveg helye 26">
            <a:extLst>
              <a:ext uri="{FF2B5EF4-FFF2-40B4-BE49-F238E27FC236}">
                <a16:creationId xmlns:a16="http://schemas.microsoft.com/office/drawing/2014/main" id="{242E30A0-0ECD-47BA-86E5-9BA8B5074D0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7148" y="3353346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4" name="Szöveg helye 26">
            <a:extLst>
              <a:ext uri="{FF2B5EF4-FFF2-40B4-BE49-F238E27FC236}">
                <a16:creationId xmlns:a16="http://schemas.microsoft.com/office/drawing/2014/main" id="{15931F29-D78A-4A85-8CEA-5066ACB0A24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7147" y="4008790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5" name="Szöveg helye 26">
            <a:extLst>
              <a:ext uri="{FF2B5EF4-FFF2-40B4-BE49-F238E27FC236}">
                <a16:creationId xmlns:a16="http://schemas.microsoft.com/office/drawing/2014/main" id="{7AB8E4C0-4AAF-4840-8B1E-916DAF43E52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37672" y="4553233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6F5CDC05-A8B4-429A-947F-DA3801F9407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639849" y="4553233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5638DA41-7A4A-41BC-A759-5D8DE82CD2B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98197" y="4553893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8" name="Szöveg helye 26">
            <a:extLst>
              <a:ext uri="{FF2B5EF4-FFF2-40B4-BE49-F238E27FC236}">
                <a16:creationId xmlns:a16="http://schemas.microsoft.com/office/drawing/2014/main" id="{6EBD8EEC-C6D7-47AB-96FD-0D70AFD1EE6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56545" y="4553893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9" name="Szöveg helye 26">
            <a:extLst>
              <a:ext uri="{FF2B5EF4-FFF2-40B4-BE49-F238E27FC236}">
                <a16:creationId xmlns:a16="http://schemas.microsoft.com/office/drawing/2014/main" id="{7F43C5F1-3CB5-4F2A-92EC-6ECEC502CF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8508" y="1219447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40" name="Szöveg helye 26">
            <a:extLst>
              <a:ext uri="{FF2B5EF4-FFF2-40B4-BE49-F238E27FC236}">
                <a16:creationId xmlns:a16="http://schemas.microsoft.com/office/drawing/2014/main" id="{AAA11C9D-0BD2-42F8-A380-08BFAC99AE9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58722" y="4370054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30" name="Cím 1">
            <a:extLst>
              <a:ext uri="{FF2B5EF4-FFF2-40B4-BE49-F238E27FC236}">
                <a16:creationId xmlns:a16="http://schemas.microsoft.com/office/drawing/2014/main" id="{229CC20C-1EA4-49A2-AE63-3097FCA09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Graphs</a:t>
            </a:r>
            <a:endParaRPr lang="hu-HU" dirty="0"/>
          </a:p>
        </p:txBody>
      </p:sp>
      <p:sp>
        <p:nvSpPr>
          <p:cNvPr id="41" name="Dátum helye 2">
            <a:extLst>
              <a:ext uri="{FF2B5EF4-FFF2-40B4-BE49-F238E27FC236}">
                <a16:creationId xmlns:a16="http://schemas.microsoft.com/office/drawing/2014/main" id="{9B95BD4E-5FA7-4CCC-A1C0-F7CFDE441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29715BE-4AB7-4849-8183-654DB8D2AE0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42" name="Dia számának helye 4">
            <a:extLst>
              <a:ext uri="{FF2B5EF4-FFF2-40B4-BE49-F238E27FC236}">
                <a16:creationId xmlns:a16="http://schemas.microsoft.com/office/drawing/2014/main" id="{66F95E98-990C-4F36-8E21-B860A436C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310021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ielde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Egyenes összekötő nyíllal 9">
            <a:extLst>
              <a:ext uri="{FF2B5EF4-FFF2-40B4-BE49-F238E27FC236}">
                <a16:creationId xmlns:a16="http://schemas.microsoft.com/office/drawing/2014/main" id="{BF21D1C0-2345-4ADD-90CC-51D366576E95}"/>
              </a:ext>
            </a:extLst>
          </p:cNvPr>
          <p:cNvCxnSpPr/>
          <p:nvPr userDrawn="1"/>
        </p:nvCxnSpPr>
        <p:spPr>
          <a:xfrm flipV="1">
            <a:off x="1096112" y="1714638"/>
            <a:ext cx="0" cy="27159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gyenes összekötő nyíllal 10">
            <a:extLst>
              <a:ext uri="{FF2B5EF4-FFF2-40B4-BE49-F238E27FC236}">
                <a16:creationId xmlns:a16="http://schemas.microsoft.com/office/drawing/2014/main" id="{AF184A24-253F-4796-B5C5-0661C1ABA7D8}"/>
              </a:ext>
            </a:extLst>
          </p:cNvPr>
          <p:cNvCxnSpPr>
            <a:cxnSpLocks/>
          </p:cNvCxnSpPr>
          <p:nvPr userDrawn="1"/>
        </p:nvCxnSpPr>
        <p:spPr>
          <a:xfrm flipV="1">
            <a:off x="1087646" y="4437798"/>
            <a:ext cx="424445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A7C13033-0510-4D6B-9261-439514F7F05B}"/>
              </a:ext>
            </a:extLst>
          </p:cNvPr>
          <p:cNvCxnSpPr/>
          <p:nvPr userDrawn="1"/>
        </p:nvCxnSpPr>
        <p:spPr>
          <a:xfrm>
            <a:off x="1087646" y="2026024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Egyenes összekötő 18">
            <a:extLst>
              <a:ext uri="{FF2B5EF4-FFF2-40B4-BE49-F238E27FC236}">
                <a16:creationId xmlns:a16="http://schemas.microsoft.com/office/drawing/2014/main" id="{36D409AA-B9F9-4215-B9DE-B0033CE7577C}"/>
              </a:ext>
            </a:extLst>
          </p:cNvPr>
          <p:cNvCxnSpPr/>
          <p:nvPr userDrawn="1"/>
        </p:nvCxnSpPr>
        <p:spPr>
          <a:xfrm>
            <a:off x="4819186" y="2026024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Egyenes összekötő 19">
            <a:extLst>
              <a:ext uri="{FF2B5EF4-FFF2-40B4-BE49-F238E27FC236}">
                <a16:creationId xmlns:a16="http://schemas.microsoft.com/office/drawing/2014/main" id="{7E3E4C97-59DF-4301-A7B2-0B71CD7C8361}"/>
              </a:ext>
            </a:extLst>
          </p:cNvPr>
          <p:cNvCxnSpPr/>
          <p:nvPr userDrawn="1"/>
        </p:nvCxnSpPr>
        <p:spPr>
          <a:xfrm>
            <a:off x="2921656" y="2033280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5F9C266B-9463-4F83-A762-7DBBCE90B29E}"/>
              </a:ext>
            </a:extLst>
          </p:cNvPr>
          <p:cNvCxnSpPr/>
          <p:nvPr userDrawn="1"/>
        </p:nvCxnSpPr>
        <p:spPr>
          <a:xfrm>
            <a:off x="1096112" y="3224306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Szöveg helye 26">
            <a:extLst>
              <a:ext uri="{FF2B5EF4-FFF2-40B4-BE49-F238E27FC236}">
                <a16:creationId xmlns:a16="http://schemas.microsoft.com/office/drawing/2014/main" id="{3E532BFA-0245-4FB5-9DF8-A4B0705F0F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18401" y="4308418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Y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23" name="Szöveg helye 26">
            <a:extLst>
              <a:ext uri="{FF2B5EF4-FFF2-40B4-BE49-F238E27FC236}">
                <a16:creationId xmlns:a16="http://schemas.microsoft.com/office/drawing/2014/main" id="{02AAB9C5-7C2F-44AB-B750-3DC2D68D95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15" y="1409386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24" name="Szöveg helye 26">
            <a:extLst>
              <a:ext uri="{FF2B5EF4-FFF2-40B4-BE49-F238E27FC236}">
                <a16:creationId xmlns:a16="http://schemas.microsoft.com/office/drawing/2014/main" id="{DC5104F6-9285-4577-9B62-4B54FEC073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75614" y="4590199"/>
            <a:ext cx="1434300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5" name="Szöveg helye 26">
            <a:extLst>
              <a:ext uri="{FF2B5EF4-FFF2-40B4-BE49-F238E27FC236}">
                <a16:creationId xmlns:a16="http://schemas.microsoft.com/office/drawing/2014/main" id="{CC3B8F36-74C7-4B1F-96B5-F9128E2F92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2461" y="4590199"/>
            <a:ext cx="1434300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4F240DB7-C55B-4DF9-9C9B-6A3B1E909D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8316" y="3769886"/>
            <a:ext cx="681448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771794BC-6B51-4D71-ABD9-B16EF7627F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4293" y="2572009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2E84031D-3579-4343-8A85-1CE8C69C4267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4 </a:t>
            </a:r>
            <a:r>
              <a:rPr lang="hu-HU" dirty="0" err="1"/>
              <a:t>Fielded</a:t>
            </a:r>
            <a:r>
              <a:rPr lang="hu-HU" dirty="0"/>
              <a:t> - </a:t>
            </a:r>
            <a:r>
              <a:rPr lang="hu-HU" dirty="0" err="1"/>
              <a:t>Matrix</a:t>
            </a:r>
            <a:endParaRPr lang="en-GB" dirty="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1B288732-F7B3-45D2-85C9-32C1D059D13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18" name="Dátum helye 2">
            <a:extLst>
              <a:ext uri="{FF2B5EF4-FFF2-40B4-BE49-F238E27FC236}">
                <a16:creationId xmlns:a16="http://schemas.microsoft.com/office/drawing/2014/main" id="{274F1C64-FE3B-464A-BB83-2D20304CA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82A0D4F-717F-4046-8664-8C8757B55353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8" name="Dia számának helye 4">
            <a:extLst>
              <a:ext uri="{FF2B5EF4-FFF2-40B4-BE49-F238E27FC236}">
                <a16:creationId xmlns:a16="http://schemas.microsoft.com/office/drawing/2014/main" id="{BF3D25C5-820E-41FE-8D0A-C80B58216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7377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abstract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8000" y="1370331"/>
            <a:ext cx="7162354" cy="3032145"/>
          </a:xfrm>
        </p:spPr>
        <p:txBody>
          <a:bodyPr/>
          <a:lstStyle>
            <a:lvl1pPr>
              <a:defRPr>
                <a:latin typeface="+mj-lt"/>
              </a:defRPr>
            </a:lvl1pPr>
            <a:lvl2pPr marL="1" indent="0">
              <a:buNone/>
              <a:defRPr/>
            </a:lvl2pPr>
            <a:lvl3pPr marL="179387" indent="0">
              <a:buNone/>
              <a:defRPr/>
            </a:lvl3pPr>
            <a:lvl4pPr marL="358776" indent="0">
              <a:buNone/>
              <a:defRPr/>
            </a:lvl4pPr>
            <a:lvl5pPr marL="538162" indent="0">
              <a:buNone/>
              <a:defRPr/>
            </a:lvl5pPr>
          </a:lstStyle>
          <a:p>
            <a:pPr lvl="0"/>
            <a:r>
              <a:rPr lang="hu-HU" noProof="0" dirty="0"/>
              <a:t>Headline, 14 </a:t>
            </a:r>
            <a:r>
              <a:rPr lang="hu-HU" noProof="0" dirty="0" err="1"/>
              <a:t>pt</a:t>
            </a:r>
            <a:endParaRPr lang="hu-HU" noProof="0" dirty="0"/>
          </a:p>
          <a:p>
            <a:pPr lvl="1"/>
            <a:r>
              <a:rPr lang="hu-HU" noProof="0" dirty="0"/>
              <a:t>Második szint </a:t>
            </a:r>
            <a:r>
              <a:rPr lang="hu-HU" noProof="0" dirty="0" err="1"/>
              <a:t>Brix</a:t>
            </a:r>
            <a:r>
              <a:rPr lang="hu-HU" noProof="0" dirty="0"/>
              <a:t> </a:t>
            </a:r>
            <a:r>
              <a:rPr lang="hu-HU" noProof="0" dirty="0" err="1"/>
              <a:t>sans</a:t>
            </a:r>
            <a:r>
              <a:rPr lang="hu-HU" noProof="0" dirty="0"/>
              <a:t> </a:t>
            </a:r>
            <a:r>
              <a:rPr lang="hu-HU" noProof="0" dirty="0" err="1"/>
              <a:t>regular</a:t>
            </a:r>
            <a:r>
              <a:rPr lang="hu-HU" noProof="0" dirty="0"/>
              <a:t>, </a:t>
            </a:r>
            <a:r>
              <a:rPr lang="hu-HU" noProof="0" dirty="0" err="1"/>
              <a:t>namus</a:t>
            </a:r>
            <a:r>
              <a:rPr lang="hu-HU" noProof="0" dirty="0"/>
              <a:t> </a:t>
            </a:r>
            <a:r>
              <a:rPr lang="hu-HU" noProof="0" dirty="0" err="1"/>
              <a:t>si</a:t>
            </a:r>
            <a:r>
              <a:rPr lang="hu-HU" noProof="0" dirty="0"/>
              <a:t> </a:t>
            </a:r>
            <a:r>
              <a:rPr lang="hu-HU" noProof="0" dirty="0" err="1"/>
              <a:t>doluptaque</a:t>
            </a:r>
            <a:r>
              <a:rPr lang="hu-HU" noProof="0" dirty="0"/>
              <a:t> mos </a:t>
            </a:r>
            <a:r>
              <a:rPr lang="hu-HU" noProof="0" dirty="0" err="1"/>
              <a:t>optiorro</a:t>
            </a:r>
            <a:r>
              <a:rPr lang="hu-HU" noProof="0" dirty="0"/>
              <a:t> te </a:t>
            </a:r>
            <a:r>
              <a:rPr lang="hu-HU" noProof="0" dirty="0" err="1"/>
              <a:t>soluptur</a:t>
            </a:r>
            <a:endParaRPr lang="hu-HU" noProof="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0066DB9-6C7A-4924-B15E-D61F1B56264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noProof="0" dirty="0" err="1"/>
              <a:t>Single</a:t>
            </a:r>
            <a:r>
              <a:rPr lang="hu-HU" noProof="0" dirty="0"/>
              <a:t> </a:t>
            </a:r>
            <a:r>
              <a:rPr lang="hu-HU" noProof="0" dirty="0" err="1"/>
              <a:t>column</a:t>
            </a:r>
            <a:r>
              <a:rPr lang="hu-HU" noProof="0" dirty="0"/>
              <a:t> </a:t>
            </a:r>
            <a:r>
              <a:rPr lang="hu-HU" noProof="0" dirty="0" err="1"/>
              <a:t>abstract</a:t>
            </a:r>
            <a:r>
              <a:rPr lang="hu-HU" noProof="0" dirty="0"/>
              <a:t> </a:t>
            </a:r>
            <a:r>
              <a:rPr lang="hu-HU" noProof="0" dirty="0" err="1"/>
              <a:t>with</a:t>
            </a:r>
            <a:r>
              <a:rPr lang="hu-HU" noProof="0" dirty="0"/>
              <a:t> </a:t>
            </a:r>
            <a:r>
              <a:rPr lang="hu-HU" noProof="0" dirty="0" err="1"/>
              <a:t>quot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92F068B9-8B20-49AD-A5BD-944510721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8" name="Fußzeilenplatzhalter 6">
            <a:extLst>
              <a:ext uri="{FF2B5EF4-FFF2-40B4-BE49-F238E27FC236}">
                <a16:creationId xmlns:a16="http://schemas.microsoft.com/office/drawing/2014/main" id="{BFF7197D-4FF7-4668-B278-860E509E1A3F}"/>
              </a:ext>
            </a:extLst>
          </p:cNvPr>
          <p:cNvSpPr txBox="1">
            <a:spLocks/>
          </p:cNvSpPr>
          <p:nvPr userDrawn="1"/>
        </p:nvSpPr>
        <p:spPr>
          <a:xfrm>
            <a:off x="8374133" y="4808669"/>
            <a:ext cx="305683" cy="2802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ts val="1125"/>
              </a:lnSpc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hu-HU" sz="900" dirty="0">
                <a:solidFill>
                  <a:schemeClr val="tx1"/>
                </a:solidFill>
                <a:latin typeface="+mn-lt"/>
              </a:rPr>
              <a:t>13</a:t>
            </a: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56F1874D-7A73-4ED1-97A8-FFB6F639DF28}"/>
              </a:ext>
            </a:extLst>
          </p:cNvPr>
          <p:cNvSpPr txBox="1">
            <a:spLocks/>
          </p:cNvSpPr>
          <p:nvPr userDrawn="1"/>
        </p:nvSpPr>
        <p:spPr>
          <a:xfrm>
            <a:off x="7636569" y="4808669"/>
            <a:ext cx="737564" cy="2802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ts val="1125"/>
              </a:lnSpc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hu-HU" sz="900" dirty="0">
                <a:solidFill>
                  <a:schemeClr val="tx1"/>
                </a:solidFill>
                <a:latin typeface="+mn-lt"/>
              </a:rPr>
              <a:t>23.01.17</a:t>
            </a:r>
          </a:p>
        </p:txBody>
      </p:sp>
      <p:sp>
        <p:nvSpPr>
          <p:cNvPr id="20" name="Szöveg helye 2">
            <a:extLst>
              <a:ext uri="{FF2B5EF4-FFF2-40B4-BE49-F238E27FC236}">
                <a16:creationId xmlns:a16="http://schemas.microsoft.com/office/drawing/2014/main" id="{D7770061-24C2-4BF0-8817-956B3345E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999" y="4629138"/>
            <a:ext cx="6555817" cy="3556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hu-HU" dirty="0" err="1"/>
              <a:t>Subordinate</a:t>
            </a:r>
            <a:r>
              <a:rPr lang="hu-HU" dirty="0"/>
              <a:t> </a:t>
            </a:r>
            <a:r>
              <a:rPr lang="hu-HU" dirty="0" err="1"/>
              <a:t>note</a:t>
            </a:r>
            <a:endParaRPr lang="hu-HU" dirty="0"/>
          </a:p>
          <a:p>
            <a:pPr lvl="0"/>
            <a:r>
              <a:rPr lang="hu-HU" dirty="0" err="1"/>
              <a:t>Copy</a:t>
            </a:r>
            <a:r>
              <a:rPr lang="hu-HU" dirty="0"/>
              <a:t> text, 9 </a:t>
            </a:r>
            <a:r>
              <a:rPr lang="hu-HU" dirty="0" err="1"/>
              <a:t>pt</a:t>
            </a:r>
            <a:r>
              <a:rPr lang="hu-HU" dirty="0"/>
              <a:t> </a:t>
            </a:r>
            <a:r>
              <a:rPr lang="hu-HU" dirty="0" err="1"/>
              <a:t>Brix</a:t>
            </a:r>
            <a:r>
              <a:rPr lang="hu-HU" dirty="0"/>
              <a:t> </a:t>
            </a:r>
            <a:r>
              <a:rPr lang="hu-HU" dirty="0" err="1"/>
              <a:t>Sans</a:t>
            </a:r>
            <a:r>
              <a:rPr lang="hu-HU" dirty="0"/>
              <a:t> </a:t>
            </a:r>
            <a:r>
              <a:rPr lang="hu-HU" dirty="0" err="1"/>
              <a:t>Regular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8225671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ielde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Egyenes összekötő nyíllal 9">
            <a:extLst>
              <a:ext uri="{FF2B5EF4-FFF2-40B4-BE49-F238E27FC236}">
                <a16:creationId xmlns:a16="http://schemas.microsoft.com/office/drawing/2014/main" id="{BF21D1C0-2345-4ADD-90CC-51D366576E95}"/>
              </a:ext>
            </a:extLst>
          </p:cNvPr>
          <p:cNvCxnSpPr/>
          <p:nvPr userDrawn="1"/>
        </p:nvCxnSpPr>
        <p:spPr>
          <a:xfrm flipV="1">
            <a:off x="1207751" y="1714638"/>
            <a:ext cx="0" cy="27159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gyenes összekötő nyíllal 10">
            <a:extLst>
              <a:ext uri="{FF2B5EF4-FFF2-40B4-BE49-F238E27FC236}">
                <a16:creationId xmlns:a16="http://schemas.microsoft.com/office/drawing/2014/main" id="{AF184A24-253F-4796-B5C5-0661C1ABA7D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99285" y="4437798"/>
            <a:ext cx="424445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A7C13033-0510-4D6B-9261-439514F7F05B}"/>
              </a:ext>
            </a:extLst>
          </p:cNvPr>
          <p:cNvCxnSpPr/>
          <p:nvPr userDrawn="1"/>
        </p:nvCxnSpPr>
        <p:spPr>
          <a:xfrm>
            <a:off x="1199285" y="2026024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Egyenes összekötő 18">
            <a:extLst>
              <a:ext uri="{FF2B5EF4-FFF2-40B4-BE49-F238E27FC236}">
                <a16:creationId xmlns:a16="http://schemas.microsoft.com/office/drawing/2014/main" id="{36D409AA-B9F9-4215-B9DE-B0033CE7577C}"/>
              </a:ext>
            </a:extLst>
          </p:cNvPr>
          <p:cNvCxnSpPr/>
          <p:nvPr userDrawn="1"/>
        </p:nvCxnSpPr>
        <p:spPr>
          <a:xfrm>
            <a:off x="4930825" y="2026024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Egyenes összekötő 19">
            <a:extLst>
              <a:ext uri="{FF2B5EF4-FFF2-40B4-BE49-F238E27FC236}">
                <a16:creationId xmlns:a16="http://schemas.microsoft.com/office/drawing/2014/main" id="{7E3E4C97-59DF-4301-A7B2-0B71CD7C8361}"/>
              </a:ext>
            </a:extLst>
          </p:cNvPr>
          <p:cNvCxnSpPr/>
          <p:nvPr userDrawn="1"/>
        </p:nvCxnSpPr>
        <p:spPr>
          <a:xfrm>
            <a:off x="3033295" y="2033280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5F9C266B-9463-4F83-A762-7DBBCE90B29E}"/>
              </a:ext>
            </a:extLst>
          </p:cNvPr>
          <p:cNvCxnSpPr/>
          <p:nvPr userDrawn="1"/>
        </p:nvCxnSpPr>
        <p:spPr>
          <a:xfrm>
            <a:off x="1207751" y="2830771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Szöveg helye 26">
            <a:extLst>
              <a:ext uri="{FF2B5EF4-FFF2-40B4-BE49-F238E27FC236}">
                <a16:creationId xmlns:a16="http://schemas.microsoft.com/office/drawing/2014/main" id="{3E532BFA-0245-4FB5-9DF8-A4B0705F0F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30040" y="4308418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Y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23" name="Szöveg helye 26">
            <a:extLst>
              <a:ext uri="{FF2B5EF4-FFF2-40B4-BE49-F238E27FC236}">
                <a16:creationId xmlns:a16="http://schemas.microsoft.com/office/drawing/2014/main" id="{02AAB9C5-7C2F-44AB-B750-3DC2D68D95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7954" y="1409386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24" name="Szöveg helye 26">
            <a:extLst>
              <a:ext uri="{FF2B5EF4-FFF2-40B4-BE49-F238E27FC236}">
                <a16:creationId xmlns:a16="http://schemas.microsoft.com/office/drawing/2014/main" id="{DC5104F6-9285-4577-9B62-4B54FEC073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87253" y="4590199"/>
            <a:ext cx="1434300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5" name="Szöveg helye 26">
            <a:extLst>
              <a:ext uri="{FF2B5EF4-FFF2-40B4-BE49-F238E27FC236}">
                <a16:creationId xmlns:a16="http://schemas.microsoft.com/office/drawing/2014/main" id="{CC3B8F36-74C7-4B1F-96B5-F9128E2F92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94100" y="4590199"/>
            <a:ext cx="1434300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4F240DB7-C55B-4DF9-9C9B-6A3B1E909D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411" y="3850670"/>
            <a:ext cx="681448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771794BC-6B51-4D71-ABD9-B16EF7627F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9955" y="2344954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cxnSp>
        <p:nvCxnSpPr>
          <p:cNvPr id="17" name="Egyenes összekötő 16">
            <a:extLst>
              <a:ext uri="{FF2B5EF4-FFF2-40B4-BE49-F238E27FC236}">
                <a16:creationId xmlns:a16="http://schemas.microsoft.com/office/drawing/2014/main" id="{51276C6A-EF18-4638-8438-C1D78EF15B8D}"/>
              </a:ext>
            </a:extLst>
          </p:cNvPr>
          <p:cNvCxnSpPr/>
          <p:nvPr userDrawn="1"/>
        </p:nvCxnSpPr>
        <p:spPr>
          <a:xfrm>
            <a:off x="1207751" y="3688395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0F3A3196-823E-4C9B-9A44-D030193677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84" y="3097812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550420BD-C864-4323-8047-145127B022BE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6 </a:t>
            </a:r>
            <a:r>
              <a:rPr lang="hu-HU" dirty="0" err="1"/>
              <a:t>Fielded</a:t>
            </a:r>
            <a:r>
              <a:rPr lang="hu-HU" dirty="0"/>
              <a:t> - </a:t>
            </a:r>
            <a:r>
              <a:rPr lang="hu-HU" dirty="0" err="1"/>
              <a:t>Matrix</a:t>
            </a:r>
            <a:endParaRPr lang="en-GB" dirty="0"/>
          </a:p>
        </p:txBody>
      </p:sp>
      <p:sp>
        <p:nvSpPr>
          <p:cNvPr id="34" name="Fußzeilenplatzhalter 6">
            <a:extLst>
              <a:ext uri="{FF2B5EF4-FFF2-40B4-BE49-F238E27FC236}">
                <a16:creationId xmlns:a16="http://schemas.microsoft.com/office/drawing/2014/main" id="{33E7A22D-01DB-4BE7-B538-06B7E906391A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8" name="Dátum helye 2">
            <a:extLst>
              <a:ext uri="{FF2B5EF4-FFF2-40B4-BE49-F238E27FC236}">
                <a16:creationId xmlns:a16="http://schemas.microsoft.com/office/drawing/2014/main" id="{97B178B0-B797-49DF-8F15-ADA4F5B6A9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CFEA429-BA1E-4A21-B348-4C9B5EC8645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9" name="Dia számának helye 4">
            <a:extLst>
              <a:ext uri="{FF2B5EF4-FFF2-40B4-BE49-F238E27FC236}">
                <a16:creationId xmlns:a16="http://schemas.microsoft.com/office/drawing/2014/main" id="{01113C0B-F8B9-48E7-96C9-2312A8096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94919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Fielde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Egyenes összekötő nyíllal 9">
            <a:extLst>
              <a:ext uri="{FF2B5EF4-FFF2-40B4-BE49-F238E27FC236}">
                <a16:creationId xmlns:a16="http://schemas.microsoft.com/office/drawing/2014/main" id="{BF21D1C0-2345-4ADD-90CC-51D366576E95}"/>
              </a:ext>
            </a:extLst>
          </p:cNvPr>
          <p:cNvCxnSpPr/>
          <p:nvPr userDrawn="1"/>
        </p:nvCxnSpPr>
        <p:spPr>
          <a:xfrm flipV="1">
            <a:off x="1168371" y="1714638"/>
            <a:ext cx="0" cy="27159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gyenes összekötő nyíllal 10">
            <a:extLst>
              <a:ext uri="{FF2B5EF4-FFF2-40B4-BE49-F238E27FC236}">
                <a16:creationId xmlns:a16="http://schemas.microsoft.com/office/drawing/2014/main" id="{AF184A24-253F-4796-B5C5-0661C1ABA7D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1439" y="4437798"/>
            <a:ext cx="424445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A7C13033-0510-4D6B-9261-439514F7F05B}"/>
              </a:ext>
            </a:extLst>
          </p:cNvPr>
          <p:cNvCxnSpPr/>
          <p:nvPr userDrawn="1"/>
        </p:nvCxnSpPr>
        <p:spPr>
          <a:xfrm>
            <a:off x="1159905" y="2026024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Egyenes összekötő 18">
            <a:extLst>
              <a:ext uri="{FF2B5EF4-FFF2-40B4-BE49-F238E27FC236}">
                <a16:creationId xmlns:a16="http://schemas.microsoft.com/office/drawing/2014/main" id="{36D409AA-B9F9-4215-B9DE-B0033CE7577C}"/>
              </a:ext>
            </a:extLst>
          </p:cNvPr>
          <p:cNvCxnSpPr/>
          <p:nvPr userDrawn="1"/>
        </p:nvCxnSpPr>
        <p:spPr>
          <a:xfrm>
            <a:off x="4604369" y="2026024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Egyenes összekötő 19">
            <a:extLst>
              <a:ext uri="{FF2B5EF4-FFF2-40B4-BE49-F238E27FC236}">
                <a16:creationId xmlns:a16="http://schemas.microsoft.com/office/drawing/2014/main" id="{7E3E4C97-59DF-4301-A7B2-0B71CD7C8361}"/>
              </a:ext>
            </a:extLst>
          </p:cNvPr>
          <p:cNvCxnSpPr/>
          <p:nvPr userDrawn="1"/>
        </p:nvCxnSpPr>
        <p:spPr>
          <a:xfrm>
            <a:off x="2352874" y="2053210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5F9C266B-9463-4F83-A762-7DBBCE90B29E}"/>
              </a:ext>
            </a:extLst>
          </p:cNvPr>
          <p:cNvCxnSpPr/>
          <p:nvPr userDrawn="1"/>
        </p:nvCxnSpPr>
        <p:spPr>
          <a:xfrm>
            <a:off x="1159905" y="2830771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Szöveg helye 26">
            <a:extLst>
              <a:ext uri="{FF2B5EF4-FFF2-40B4-BE49-F238E27FC236}">
                <a16:creationId xmlns:a16="http://schemas.microsoft.com/office/drawing/2014/main" id="{3E532BFA-0245-4FB5-9DF8-A4B0705F0F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82194" y="4308418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Y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23" name="Szöveg helye 26">
            <a:extLst>
              <a:ext uri="{FF2B5EF4-FFF2-40B4-BE49-F238E27FC236}">
                <a16:creationId xmlns:a16="http://schemas.microsoft.com/office/drawing/2014/main" id="{02AAB9C5-7C2F-44AB-B750-3DC2D68D95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8574" y="1409386"/>
            <a:ext cx="1434300" cy="258762"/>
          </a:xfrm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 -</a:t>
            </a:r>
            <a:r>
              <a:rPr lang="hu-HU" dirty="0" err="1"/>
              <a:t>Axis</a:t>
            </a:r>
            <a:endParaRPr lang="hu-HU" dirty="0"/>
          </a:p>
        </p:txBody>
      </p:sp>
      <p:sp>
        <p:nvSpPr>
          <p:cNvPr id="25" name="Szöveg helye 26">
            <a:extLst>
              <a:ext uri="{FF2B5EF4-FFF2-40B4-BE49-F238E27FC236}">
                <a16:creationId xmlns:a16="http://schemas.microsoft.com/office/drawing/2014/main" id="{CC3B8F36-74C7-4B1F-96B5-F9128E2F92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68371" y="4590199"/>
            <a:ext cx="1104304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4F240DB7-C55B-4DF9-9C9B-6A3B1E909D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8031" y="3850670"/>
            <a:ext cx="681448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771794BC-6B51-4D71-ABD9-B16EF7627F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0575" y="2344954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cxnSp>
        <p:nvCxnSpPr>
          <p:cNvPr id="17" name="Egyenes összekötő 16">
            <a:extLst>
              <a:ext uri="{FF2B5EF4-FFF2-40B4-BE49-F238E27FC236}">
                <a16:creationId xmlns:a16="http://schemas.microsoft.com/office/drawing/2014/main" id="{51276C6A-EF18-4638-8438-C1D78EF15B8D}"/>
              </a:ext>
            </a:extLst>
          </p:cNvPr>
          <p:cNvCxnSpPr/>
          <p:nvPr userDrawn="1"/>
        </p:nvCxnSpPr>
        <p:spPr>
          <a:xfrm>
            <a:off x="1159905" y="3688395"/>
            <a:ext cx="373154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Szöveg helye 26">
            <a:extLst>
              <a:ext uri="{FF2B5EF4-FFF2-40B4-BE49-F238E27FC236}">
                <a16:creationId xmlns:a16="http://schemas.microsoft.com/office/drawing/2014/main" id="{0F3A3196-823E-4C9B-9A44-D030193677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04" y="3097812"/>
            <a:ext cx="681447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cxnSp>
        <p:nvCxnSpPr>
          <p:cNvPr id="28" name="Egyenes összekötő 27">
            <a:extLst>
              <a:ext uri="{FF2B5EF4-FFF2-40B4-BE49-F238E27FC236}">
                <a16:creationId xmlns:a16="http://schemas.microsoft.com/office/drawing/2014/main" id="{6EF12680-EF54-4935-9DD6-98449B04FD88}"/>
              </a:ext>
            </a:extLst>
          </p:cNvPr>
          <p:cNvCxnSpPr/>
          <p:nvPr userDrawn="1"/>
        </p:nvCxnSpPr>
        <p:spPr>
          <a:xfrm>
            <a:off x="3618457" y="2026024"/>
            <a:ext cx="0" cy="24045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7CD32673-B498-4807-9C36-3C2355C5B89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73523" y="4590199"/>
            <a:ext cx="1104304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B47C265A-BD23-4E81-A667-FE46F88213A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8675" y="4590199"/>
            <a:ext cx="1104304" cy="258762"/>
          </a:xfr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8C141001-6DE5-4319-AD04-A8D108285FD2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9 </a:t>
            </a:r>
            <a:r>
              <a:rPr lang="hu-HU" dirty="0" err="1"/>
              <a:t>Fielded</a:t>
            </a:r>
            <a:r>
              <a:rPr lang="hu-HU" dirty="0"/>
              <a:t> - </a:t>
            </a:r>
            <a:r>
              <a:rPr lang="hu-HU" dirty="0" err="1"/>
              <a:t>Matrix</a:t>
            </a:r>
            <a:endParaRPr lang="en-GB" dirty="0"/>
          </a:p>
        </p:txBody>
      </p:sp>
      <p:sp>
        <p:nvSpPr>
          <p:cNvPr id="36" name="Fußzeilenplatzhalter 6">
            <a:extLst>
              <a:ext uri="{FF2B5EF4-FFF2-40B4-BE49-F238E27FC236}">
                <a16:creationId xmlns:a16="http://schemas.microsoft.com/office/drawing/2014/main" id="{C7868803-18D4-45A2-A09E-AD9896EE2613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EEF00E89-CFEA-4EA7-A56F-0B36A7D0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AA64097-F419-4A3C-9D48-57A196A88A2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1" name="Dia számának helye 4">
            <a:extLst>
              <a:ext uri="{FF2B5EF4-FFF2-40B4-BE49-F238E27FC236}">
                <a16:creationId xmlns:a16="http://schemas.microsoft.com/office/drawing/2014/main" id="{0BD34127-695B-4485-BCC8-9AF0F017B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750102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8">
            <a:extLst>
              <a:ext uri="{FF2B5EF4-FFF2-40B4-BE49-F238E27FC236}">
                <a16:creationId xmlns:a16="http://schemas.microsoft.com/office/drawing/2014/main" id="{9DA64D7F-F2B1-42B9-B2DF-8D3B9B69C4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1700" y="1362171"/>
            <a:ext cx="2755900" cy="1566862"/>
          </a:xfrm>
          <a:solidFill>
            <a:srgbClr val="5CC1CB">
              <a:alpha val="68000"/>
            </a:srgbClr>
          </a:solidFill>
        </p:spPr>
        <p:txBody>
          <a:bodyPr lIns="72000" tIns="36000"/>
          <a:lstStyle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10" name="Szöveg helye 8">
            <a:extLst>
              <a:ext uri="{FF2B5EF4-FFF2-40B4-BE49-F238E27FC236}">
                <a16:creationId xmlns:a16="http://schemas.microsoft.com/office/drawing/2014/main" id="{7A4971E4-A8A4-45CA-BDD6-C26CE2048B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3647" y="2082801"/>
            <a:ext cx="2043953" cy="846231"/>
          </a:xfrm>
          <a:solidFill>
            <a:srgbClr val="5CC1CB"/>
          </a:solidFill>
        </p:spPr>
        <p:txBody>
          <a:bodyPr lIns="72000" tIns="72000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extra</a:t>
            </a:r>
          </a:p>
        </p:txBody>
      </p:sp>
      <p:sp>
        <p:nvSpPr>
          <p:cNvPr id="11" name="Szöveg helye 8">
            <a:extLst>
              <a:ext uri="{FF2B5EF4-FFF2-40B4-BE49-F238E27FC236}">
                <a16:creationId xmlns:a16="http://schemas.microsoft.com/office/drawing/2014/main" id="{65CFF3C6-7512-4EE1-BAFE-E2A98529F0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37535" y="1362171"/>
            <a:ext cx="2755900" cy="1566862"/>
          </a:xfrm>
          <a:solidFill>
            <a:srgbClr val="5CC1CB">
              <a:alpha val="68000"/>
            </a:srgbClr>
          </a:solidFill>
        </p:spPr>
        <p:txBody>
          <a:bodyPr lIns="72000" tIns="36000"/>
          <a:lstStyle>
            <a:lvl1pPr>
              <a:defRPr sz="1100"/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0"/>
            <a:endParaRPr lang="hu-HU" dirty="0"/>
          </a:p>
        </p:txBody>
      </p:sp>
      <p:sp>
        <p:nvSpPr>
          <p:cNvPr id="12" name="Szöveg helye 8">
            <a:extLst>
              <a:ext uri="{FF2B5EF4-FFF2-40B4-BE49-F238E27FC236}">
                <a16:creationId xmlns:a16="http://schemas.microsoft.com/office/drawing/2014/main" id="{0582660B-2C6B-42A0-BA8B-E799B6AA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1700" y="3002712"/>
            <a:ext cx="2755900" cy="1566862"/>
          </a:xfrm>
          <a:solidFill>
            <a:srgbClr val="5CC1CB">
              <a:alpha val="68000"/>
            </a:srgbClr>
          </a:solidFill>
        </p:spPr>
        <p:txBody>
          <a:bodyPr lIns="72000" tIns="1980000" bIns="36000" anchor="b"/>
          <a:lstStyle>
            <a:lvl1pPr>
              <a:defRPr sz="1100"/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0"/>
            <a:endParaRPr lang="hu-HU" dirty="0"/>
          </a:p>
        </p:txBody>
      </p:sp>
      <p:sp>
        <p:nvSpPr>
          <p:cNvPr id="13" name="Szöveg helye 8">
            <a:extLst>
              <a:ext uri="{FF2B5EF4-FFF2-40B4-BE49-F238E27FC236}">
                <a16:creationId xmlns:a16="http://schemas.microsoft.com/office/drawing/2014/main" id="{2F42229A-2105-4483-ACFE-6641E4368D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7535" y="3002712"/>
            <a:ext cx="2755900" cy="1566862"/>
          </a:xfrm>
          <a:solidFill>
            <a:srgbClr val="5CC1CB">
              <a:alpha val="68000"/>
            </a:srgbClr>
          </a:solidFill>
        </p:spPr>
        <p:txBody>
          <a:bodyPr lIns="72000" tIns="1980000" bIns="36000" anchor="b"/>
          <a:lstStyle>
            <a:lvl1pPr>
              <a:defRPr sz="1100"/>
            </a:lvl1pPr>
            <a:lvl2pPr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</a:defRPr>
            </a:lvl4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0"/>
            <a:endParaRPr lang="hu-HU" dirty="0"/>
          </a:p>
        </p:txBody>
      </p:sp>
      <p:sp>
        <p:nvSpPr>
          <p:cNvPr id="16" name="Szöveg helye 8">
            <a:extLst>
              <a:ext uri="{FF2B5EF4-FFF2-40B4-BE49-F238E27FC236}">
                <a16:creationId xmlns:a16="http://schemas.microsoft.com/office/drawing/2014/main" id="{9C997DD2-2D09-4ED0-ADCF-A309EAEF95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37535" y="2082800"/>
            <a:ext cx="2043953" cy="846231"/>
          </a:xfrm>
          <a:solidFill>
            <a:srgbClr val="5CC1CB"/>
          </a:solidFill>
        </p:spPr>
        <p:txBody>
          <a:bodyPr lIns="0" tIns="72000" rIns="72000"/>
          <a:lstStyle>
            <a:lvl1pPr algn="r"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extra</a:t>
            </a:r>
          </a:p>
        </p:txBody>
      </p:sp>
      <p:sp>
        <p:nvSpPr>
          <p:cNvPr id="17" name="Szöveg helye 8">
            <a:extLst>
              <a:ext uri="{FF2B5EF4-FFF2-40B4-BE49-F238E27FC236}">
                <a16:creationId xmlns:a16="http://schemas.microsoft.com/office/drawing/2014/main" id="{315A5356-B818-449F-81EA-722ED5CD69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11032" y="3002712"/>
            <a:ext cx="2043953" cy="846231"/>
          </a:xfrm>
          <a:solidFill>
            <a:srgbClr val="5CC1CB"/>
          </a:solidFill>
        </p:spPr>
        <p:txBody>
          <a:bodyPr lIns="72000" tIns="0" bIns="72000" anchor="b"/>
          <a:lstStyle>
            <a:lvl1pPr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8" name="Szöveg helye 8">
            <a:extLst>
              <a:ext uri="{FF2B5EF4-FFF2-40B4-BE49-F238E27FC236}">
                <a16:creationId xmlns:a16="http://schemas.microsoft.com/office/drawing/2014/main" id="{2AF6B4DB-2D2E-462D-B893-7558E497E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37535" y="3002710"/>
            <a:ext cx="2043953" cy="846231"/>
          </a:xfrm>
          <a:solidFill>
            <a:srgbClr val="5CC1CB"/>
          </a:solidFill>
        </p:spPr>
        <p:txBody>
          <a:bodyPr lIns="0" tIns="0" rIns="72000" bIns="72000" anchor="b"/>
          <a:lstStyle>
            <a:lvl1pPr algn="r"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</p:txBody>
      </p:sp>
      <p:sp>
        <p:nvSpPr>
          <p:cNvPr id="19" name="Szöveg helye 8">
            <a:extLst>
              <a:ext uri="{FF2B5EF4-FFF2-40B4-BE49-F238E27FC236}">
                <a16:creationId xmlns:a16="http://schemas.microsoft.com/office/drawing/2014/main" id="{C3FA5076-CCAF-48FE-951B-3DA01FDB3E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10167" y="2599679"/>
            <a:ext cx="1569571" cy="718261"/>
          </a:xfrm>
          <a:solidFill>
            <a:srgbClr val="EA1C0A"/>
          </a:solidFill>
        </p:spPr>
        <p:txBody>
          <a:bodyPr lIns="36000" tIns="36000" anchor="ctr"/>
          <a:lstStyle>
            <a:lvl1pPr algn="ctr">
              <a:spcAft>
                <a:spcPts val="0"/>
              </a:spcAft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CF3F30A2-E8C4-40F6-BA8C-7FE9A6ACD75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095" y="2885314"/>
            <a:ext cx="681448" cy="598967"/>
          </a:xfrm>
        </p:spPr>
        <p:txBody>
          <a:bodyPr anchor="ctr"/>
          <a:lstStyle>
            <a:lvl1pPr algn="r">
              <a:defRPr sz="1100">
                <a:solidFill>
                  <a:srgbClr val="EA1C0A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cxnSp>
        <p:nvCxnSpPr>
          <p:cNvPr id="22" name="Egyenes összekötő nyíllal 21">
            <a:extLst>
              <a:ext uri="{FF2B5EF4-FFF2-40B4-BE49-F238E27FC236}">
                <a16:creationId xmlns:a16="http://schemas.microsoft.com/office/drawing/2014/main" id="{5CE5A000-C0AF-44D0-BFAC-D120FA651C86}"/>
              </a:ext>
            </a:extLst>
          </p:cNvPr>
          <p:cNvCxnSpPr/>
          <p:nvPr userDrawn="1"/>
        </p:nvCxnSpPr>
        <p:spPr>
          <a:xfrm>
            <a:off x="3694952" y="1147021"/>
            <a:ext cx="0" cy="179294"/>
          </a:xfrm>
          <a:prstGeom prst="straightConnector1">
            <a:avLst/>
          </a:prstGeom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Egyenes összekötő nyíllal 24">
            <a:extLst>
              <a:ext uri="{FF2B5EF4-FFF2-40B4-BE49-F238E27FC236}">
                <a16:creationId xmlns:a16="http://schemas.microsoft.com/office/drawing/2014/main" id="{93ED3D38-D34E-4378-B883-180FAB9251A1}"/>
              </a:ext>
            </a:extLst>
          </p:cNvPr>
          <p:cNvCxnSpPr>
            <a:cxnSpLocks/>
          </p:cNvCxnSpPr>
          <p:nvPr userDrawn="1"/>
        </p:nvCxnSpPr>
        <p:spPr>
          <a:xfrm flipH="1">
            <a:off x="6568141" y="2958809"/>
            <a:ext cx="183754" cy="2"/>
          </a:xfrm>
          <a:prstGeom prst="straightConnector1">
            <a:avLst/>
          </a:prstGeom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Egyenes összekötő nyíllal 30">
            <a:extLst>
              <a:ext uri="{FF2B5EF4-FFF2-40B4-BE49-F238E27FC236}">
                <a16:creationId xmlns:a16="http://schemas.microsoft.com/office/drawing/2014/main" id="{4F722FF3-2A30-4861-A981-C13F0F15EC9C}"/>
              </a:ext>
            </a:extLst>
          </p:cNvPr>
          <p:cNvCxnSpPr/>
          <p:nvPr userDrawn="1"/>
        </p:nvCxnSpPr>
        <p:spPr>
          <a:xfrm flipV="1">
            <a:off x="3694952" y="4591054"/>
            <a:ext cx="0" cy="191247"/>
          </a:xfrm>
          <a:prstGeom prst="straightConnector1">
            <a:avLst/>
          </a:prstGeom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Egyenes összekötő nyíllal 32">
            <a:extLst>
              <a:ext uri="{FF2B5EF4-FFF2-40B4-BE49-F238E27FC236}">
                <a16:creationId xmlns:a16="http://schemas.microsoft.com/office/drawing/2014/main" id="{2E2B101B-BFA7-4E54-8652-3A2655185E90}"/>
              </a:ext>
            </a:extLst>
          </p:cNvPr>
          <p:cNvCxnSpPr>
            <a:cxnSpLocks/>
          </p:cNvCxnSpPr>
          <p:nvPr userDrawn="1"/>
        </p:nvCxnSpPr>
        <p:spPr>
          <a:xfrm>
            <a:off x="669365" y="2961333"/>
            <a:ext cx="185271" cy="0"/>
          </a:xfrm>
          <a:prstGeom prst="straightConnector1">
            <a:avLst/>
          </a:prstGeom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Szöveg helye 26">
            <a:extLst>
              <a:ext uri="{FF2B5EF4-FFF2-40B4-BE49-F238E27FC236}">
                <a16:creationId xmlns:a16="http://schemas.microsoft.com/office/drawing/2014/main" id="{0A7CA615-D5A1-41DD-9410-346714AE808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03110" y="2661849"/>
            <a:ext cx="681448" cy="598967"/>
          </a:xfrm>
        </p:spPr>
        <p:txBody>
          <a:bodyPr anchor="ctr"/>
          <a:lstStyle>
            <a:lvl1pPr algn="l">
              <a:defRPr sz="1100">
                <a:solidFill>
                  <a:srgbClr val="EA1C0A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21ABF428-945A-4C95-B106-995E845329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99067" y="4718388"/>
            <a:ext cx="1391769" cy="403667"/>
          </a:xfrm>
        </p:spPr>
        <p:txBody>
          <a:bodyPr anchor="ctr"/>
          <a:lstStyle>
            <a:lvl1pPr algn="ctr">
              <a:defRPr sz="1100">
                <a:solidFill>
                  <a:srgbClr val="EA1C0A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7C090F07-59DF-43F7-ADCF-4E158586969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99066" y="767632"/>
            <a:ext cx="1391769" cy="403667"/>
          </a:xfrm>
        </p:spPr>
        <p:txBody>
          <a:bodyPr anchor="ctr"/>
          <a:lstStyle>
            <a:lvl1pPr algn="ctr">
              <a:defRPr sz="1100">
                <a:solidFill>
                  <a:srgbClr val="EA1C0A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Label</a:t>
            </a:r>
            <a:endParaRPr lang="hu-HU" dirty="0"/>
          </a:p>
        </p:txBody>
      </p:sp>
      <p:cxnSp>
        <p:nvCxnSpPr>
          <p:cNvPr id="38" name="Egyenes összekötő nyíllal 37">
            <a:extLst>
              <a:ext uri="{FF2B5EF4-FFF2-40B4-BE49-F238E27FC236}">
                <a16:creationId xmlns:a16="http://schemas.microsoft.com/office/drawing/2014/main" id="{FE8E26FA-A832-4D6D-A8BD-1F016F5C27B3}"/>
              </a:ext>
            </a:extLst>
          </p:cNvPr>
          <p:cNvCxnSpPr>
            <a:cxnSpLocks/>
          </p:cNvCxnSpPr>
          <p:nvPr userDrawn="1"/>
        </p:nvCxnSpPr>
        <p:spPr>
          <a:xfrm flipH="1">
            <a:off x="4295984" y="2603806"/>
            <a:ext cx="183754" cy="116085"/>
          </a:xfrm>
          <a:prstGeom prst="straightConnector1">
            <a:avLst/>
          </a:prstGeom>
          <a:ln w="28575" cap="flat" cmpd="sng" algn="ctr">
            <a:solidFill>
              <a:srgbClr val="5CC1CB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Egyenes összekötő nyíllal 39">
            <a:extLst>
              <a:ext uri="{FF2B5EF4-FFF2-40B4-BE49-F238E27FC236}">
                <a16:creationId xmlns:a16="http://schemas.microsoft.com/office/drawing/2014/main" id="{17C47B2D-AC75-4177-AF94-B16C5A1360E2}"/>
              </a:ext>
            </a:extLst>
          </p:cNvPr>
          <p:cNvCxnSpPr>
            <a:cxnSpLocks/>
          </p:cNvCxnSpPr>
          <p:nvPr userDrawn="1"/>
        </p:nvCxnSpPr>
        <p:spPr>
          <a:xfrm>
            <a:off x="2879959" y="2571747"/>
            <a:ext cx="173559" cy="184033"/>
          </a:xfrm>
          <a:prstGeom prst="straightConnector1">
            <a:avLst/>
          </a:prstGeom>
          <a:ln w="28575" cap="flat" cmpd="sng" algn="ctr">
            <a:solidFill>
              <a:srgbClr val="5CC1CB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Egyenes összekötő nyíllal 41">
            <a:extLst>
              <a:ext uri="{FF2B5EF4-FFF2-40B4-BE49-F238E27FC236}">
                <a16:creationId xmlns:a16="http://schemas.microsoft.com/office/drawing/2014/main" id="{197EAA9B-1B39-45FD-84C6-022FE1B431D9}"/>
              </a:ext>
            </a:extLst>
          </p:cNvPr>
          <p:cNvCxnSpPr>
            <a:cxnSpLocks/>
          </p:cNvCxnSpPr>
          <p:nvPr userDrawn="1"/>
        </p:nvCxnSpPr>
        <p:spPr>
          <a:xfrm flipV="1">
            <a:off x="2897074" y="3193758"/>
            <a:ext cx="203983" cy="115209"/>
          </a:xfrm>
          <a:prstGeom prst="straightConnector1">
            <a:avLst/>
          </a:prstGeom>
          <a:ln w="28575" cap="flat" cmpd="sng" algn="ctr">
            <a:solidFill>
              <a:srgbClr val="5CC1CB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Egyenes összekötő nyíllal 43">
            <a:extLst>
              <a:ext uri="{FF2B5EF4-FFF2-40B4-BE49-F238E27FC236}">
                <a16:creationId xmlns:a16="http://schemas.microsoft.com/office/drawing/2014/main" id="{0F324442-09DC-4839-BF82-48EE3C5166BC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4307329" y="3176363"/>
            <a:ext cx="202618" cy="169510"/>
          </a:xfrm>
          <a:prstGeom prst="straightConnector1">
            <a:avLst/>
          </a:prstGeom>
          <a:ln w="28575" cap="flat" cmpd="sng" algn="ctr">
            <a:solidFill>
              <a:srgbClr val="5CC1CB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itel 1">
            <a:extLst>
              <a:ext uri="{FF2B5EF4-FFF2-40B4-BE49-F238E27FC236}">
                <a16:creationId xmlns:a16="http://schemas.microsoft.com/office/drawing/2014/main" id="{87E2EA18-3832-45B2-90A3-BE210726118D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Levels</a:t>
            </a:r>
            <a:endParaRPr lang="en-GB" dirty="0"/>
          </a:p>
        </p:txBody>
      </p:sp>
      <p:sp>
        <p:nvSpPr>
          <p:cNvPr id="34" name="Fußzeilenplatzhalter 6">
            <a:extLst>
              <a:ext uri="{FF2B5EF4-FFF2-40B4-BE49-F238E27FC236}">
                <a16:creationId xmlns:a16="http://schemas.microsoft.com/office/drawing/2014/main" id="{487AAC02-3D3A-4A28-B7A8-21D2B1CD8388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7" name="Dátum helye 2">
            <a:extLst>
              <a:ext uri="{FF2B5EF4-FFF2-40B4-BE49-F238E27FC236}">
                <a16:creationId xmlns:a16="http://schemas.microsoft.com/office/drawing/2014/main" id="{868C7B6E-9AED-44DA-9DBB-1A5C335710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B60AFA0E-5DA3-4DAE-B38E-80B4DFB81F7D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8" name="Dia számának helye 4">
            <a:extLst>
              <a:ext uri="{FF2B5EF4-FFF2-40B4-BE49-F238E27FC236}">
                <a16:creationId xmlns:a16="http://schemas.microsoft.com/office/drawing/2014/main" id="{C2AF5D6C-7301-4B16-8708-CD644BA1026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77882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00901216-F1E2-4D7D-ABCA-C65514D796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560513"/>
            <a:ext cx="4446587" cy="2395537"/>
          </a:xfr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Vision 1 </a:t>
            </a:r>
            <a:r>
              <a:rPr lang="hu-HU" dirty="0" err="1"/>
              <a:t>nonem</a:t>
            </a:r>
            <a:endParaRPr lang="hu-HU" dirty="0"/>
          </a:p>
          <a:p>
            <a:pPr lvl="0"/>
            <a:r>
              <a:rPr lang="hu-HU" dirty="0"/>
              <a:t>Vision 2 </a:t>
            </a:r>
            <a:r>
              <a:rPr lang="hu-HU" dirty="0" err="1"/>
              <a:t>nonem</a:t>
            </a:r>
            <a:endParaRPr lang="hu-HU" dirty="0"/>
          </a:p>
          <a:p>
            <a:pPr lvl="0"/>
            <a:r>
              <a:rPr lang="hu-HU" dirty="0"/>
              <a:t>Vision 3 </a:t>
            </a:r>
            <a:r>
              <a:rPr lang="hu-HU" dirty="0" err="1"/>
              <a:t>nonem</a:t>
            </a:r>
            <a:endParaRPr lang="hu-HU" dirty="0"/>
          </a:p>
          <a:p>
            <a:pPr lvl="0"/>
            <a:r>
              <a:rPr lang="hu-HU" dirty="0"/>
              <a:t>Vision 4 </a:t>
            </a:r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Vision 5 </a:t>
            </a:r>
            <a:r>
              <a:rPr lang="hu-HU" dirty="0" err="1"/>
              <a:t>nonem</a:t>
            </a:r>
            <a:endParaRPr lang="hu-HU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C7E630A3-2D3F-474F-A4A8-E6164CA0064E}"/>
              </a:ext>
            </a:extLst>
          </p:cNvPr>
          <p:cNvSpPr txBox="1">
            <a:spLocks/>
          </p:cNvSpPr>
          <p:nvPr userDrawn="1"/>
        </p:nvSpPr>
        <p:spPr>
          <a:xfrm>
            <a:off x="394833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Vision</a:t>
            </a:r>
            <a:endParaRPr lang="en-GB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179E08BC-7418-4878-99D5-0D3BDE3FE292}"/>
              </a:ext>
            </a:extLst>
          </p:cNvPr>
          <p:cNvSpPr txBox="1">
            <a:spLocks/>
          </p:cNvSpPr>
          <p:nvPr userDrawn="1"/>
        </p:nvSpPr>
        <p:spPr>
          <a:xfrm>
            <a:off x="6950650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8" name="Dátum helye 2">
            <a:extLst>
              <a:ext uri="{FF2B5EF4-FFF2-40B4-BE49-F238E27FC236}">
                <a16:creationId xmlns:a16="http://schemas.microsoft.com/office/drawing/2014/main" id="{1EB59B7E-7028-4EA0-B7F4-4C1E3BAE0E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94C13062-740B-48DD-BDC2-6A22268170BF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9" name="Dia számának helye 4">
            <a:extLst>
              <a:ext uri="{FF2B5EF4-FFF2-40B4-BE49-F238E27FC236}">
                <a16:creationId xmlns:a16="http://schemas.microsoft.com/office/drawing/2014/main" id="{DE3CEBFD-560B-4177-B073-C4BD7CF6592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00587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 (2)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00901216-F1E2-4D7D-ABCA-C65514D796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560513"/>
            <a:ext cx="4446587" cy="2395537"/>
          </a:xfr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Vision 1 </a:t>
            </a:r>
            <a:r>
              <a:rPr lang="hu-HU" dirty="0" err="1"/>
              <a:t>nonem</a:t>
            </a:r>
            <a:endParaRPr lang="hu-HU" dirty="0"/>
          </a:p>
          <a:p>
            <a:pPr lvl="0"/>
            <a:r>
              <a:rPr lang="hu-HU" dirty="0"/>
              <a:t>Vision 2 </a:t>
            </a:r>
            <a:r>
              <a:rPr lang="hu-HU" dirty="0" err="1"/>
              <a:t>nonem</a:t>
            </a:r>
            <a:endParaRPr lang="hu-HU" dirty="0"/>
          </a:p>
          <a:p>
            <a:pPr lvl="0"/>
            <a:r>
              <a:rPr lang="hu-HU" dirty="0"/>
              <a:t>Vision 3 </a:t>
            </a:r>
            <a:r>
              <a:rPr lang="hu-HU" dirty="0" err="1"/>
              <a:t>nonem</a:t>
            </a:r>
            <a:endParaRPr lang="hu-HU" dirty="0"/>
          </a:p>
          <a:p>
            <a:pPr lvl="0"/>
            <a:r>
              <a:rPr lang="hu-HU" dirty="0"/>
              <a:t>Vision 4 </a:t>
            </a:r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Vision 5 </a:t>
            </a:r>
            <a:r>
              <a:rPr lang="hu-HU" dirty="0" err="1"/>
              <a:t>nonem</a:t>
            </a:r>
            <a:endParaRPr lang="hu-HU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014AD99F-F109-4B52-B679-F2AF54E7EBCD}"/>
              </a:ext>
            </a:extLst>
          </p:cNvPr>
          <p:cNvSpPr txBox="1">
            <a:spLocks/>
          </p:cNvSpPr>
          <p:nvPr userDrawn="1"/>
        </p:nvSpPr>
        <p:spPr>
          <a:xfrm>
            <a:off x="394833" y="512976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>
                <a:solidFill>
                  <a:schemeClr val="bg1"/>
                </a:solidFill>
              </a:rPr>
              <a:t>Visio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EB1A3B49-9E59-4447-943B-99713254C95A}"/>
              </a:ext>
            </a:extLst>
          </p:cNvPr>
          <p:cNvSpPr txBox="1">
            <a:spLocks/>
          </p:cNvSpPr>
          <p:nvPr userDrawn="1"/>
        </p:nvSpPr>
        <p:spPr>
          <a:xfrm>
            <a:off x="6950650" y="512976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Title (Change via “Insert/Header &amp; </a:t>
            </a:r>
            <a:r>
              <a:rPr lang="de-DE" dirty="0" err="1">
                <a:solidFill>
                  <a:schemeClr val="bg1"/>
                </a:solidFill>
              </a:rPr>
              <a:t>Footer</a:t>
            </a:r>
            <a:r>
              <a:rPr lang="de-DE" dirty="0">
                <a:solidFill>
                  <a:schemeClr val="bg1"/>
                </a:solidFill>
              </a:rPr>
              <a:t>”)</a:t>
            </a:r>
          </a:p>
          <a:p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Dátum helye 2">
            <a:extLst>
              <a:ext uri="{FF2B5EF4-FFF2-40B4-BE49-F238E27FC236}">
                <a16:creationId xmlns:a16="http://schemas.microsoft.com/office/drawing/2014/main" id="{116FC36D-E819-4489-83E8-2F1A327E2C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A3B38C45-8205-45D6-8766-EF45E3F7C565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0" name="Dia számának helye 4">
            <a:extLst>
              <a:ext uri="{FF2B5EF4-FFF2-40B4-BE49-F238E27FC236}">
                <a16:creationId xmlns:a16="http://schemas.microsoft.com/office/drawing/2014/main" id="{819B3FBB-6B02-4B85-98D5-2B137D712D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03311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0" y="3261600"/>
            <a:ext cx="2124877" cy="630000"/>
          </a:xfrm>
          <a:prstGeom prst="rect">
            <a:avLst/>
          </a:prstGeom>
        </p:spPr>
      </p:pic>
      <p:sp>
        <p:nvSpPr>
          <p:cNvPr id="6" name="Textfeld 5"/>
          <p:cNvSpPr txBox="1"/>
          <p:nvPr userDrawn="1"/>
        </p:nvSpPr>
        <p:spPr>
          <a:xfrm>
            <a:off x="3259138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chemeClr val="accent1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chemeClr val="accent1"/>
                </a:solidFill>
                <a:latin typeface="+mn-lt"/>
              </a:rPr>
            </a:b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chemeClr val="accent1"/>
                </a:solidFill>
                <a:latin typeface="+mj-lt"/>
              </a:rPr>
              <a:t>eon-brand.com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Textfeld 12"/>
          <p:cNvSpPr txBox="1"/>
          <p:nvPr userDrawn="1"/>
        </p:nvSpPr>
        <p:spPr>
          <a:xfrm>
            <a:off x="3259138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chemeClr val="accent1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chemeClr val="accent1"/>
                </a:solidFill>
                <a:latin typeface="+mn-lt"/>
              </a:rPr>
            </a:b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chemeClr val="accent1"/>
                </a:solidFill>
                <a:latin typeface="+mj-lt"/>
              </a:rPr>
              <a:t>eon-brand.com</a:t>
            </a:r>
          </a:p>
        </p:txBody>
      </p:sp>
    </p:spTree>
    <p:extLst>
      <p:ext uri="{BB962C8B-B14F-4D97-AF65-F5344CB8AC3E}">
        <p14:creationId xmlns:p14="http://schemas.microsoft.com/office/powerpoint/2010/main" val="385833668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chart less 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89106" y="1312784"/>
            <a:ext cx="7206893" cy="1029413"/>
          </a:xfrm>
        </p:spPr>
        <p:txBody>
          <a:bodyPr/>
          <a:lstStyle>
            <a:lvl1pPr algn="r">
              <a:lnSpc>
                <a:spcPct val="100000"/>
              </a:lnSpc>
              <a:defRPr sz="5995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hu-HU" dirty="0"/>
              <a:t>Mintacím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0"/>
          </p:nvPr>
        </p:nvSpPr>
        <p:spPr>
          <a:xfrm>
            <a:off x="2645924" y="2371456"/>
            <a:ext cx="4950076" cy="641329"/>
          </a:xfrm>
        </p:spPr>
        <p:txBody>
          <a:bodyPr/>
          <a:lstStyle>
            <a:lvl1pPr algn="r">
              <a:defRPr sz="2498">
                <a:solidFill>
                  <a:schemeClr val="accent1"/>
                </a:solidFill>
              </a:defRPr>
            </a:lvl1pPr>
            <a:lvl2pPr algn="r">
              <a:defRPr sz="2498">
                <a:solidFill>
                  <a:schemeClr val="accent1"/>
                </a:solidFill>
              </a:defRPr>
            </a:lvl2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</p:txBody>
      </p:sp>
    </p:spTree>
    <p:extLst>
      <p:ext uri="{BB962C8B-B14F-4D97-AF65-F5344CB8AC3E}">
        <p14:creationId xmlns:p14="http://schemas.microsoft.com/office/powerpoint/2010/main" val="77242441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full color_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623600" y="1186440"/>
            <a:ext cx="4338000" cy="932226"/>
          </a:xfrm>
        </p:spPr>
        <p:txBody>
          <a:bodyPr/>
          <a:lstStyle>
            <a:lvl1pPr algn="r">
              <a:lnSpc>
                <a:spcPct val="100000"/>
              </a:lnSpc>
              <a:defRPr sz="5995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hu-HU" dirty="0"/>
              <a:t>Mintacím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0"/>
          </p:nvPr>
        </p:nvSpPr>
        <p:spPr>
          <a:xfrm>
            <a:off x="1624013" y="2380538"/>
            <a:ext cx="4337050" cy="632827"/>
          </a:xfrm>
        </p:spPr>
        <p:txBody>
          <a:bodyPr/>
          <a:lstStyle>
            <a:lvl1pPr algn="r">
              <a:defRPr sz="2498">
                <a:solidFill>
                  <a:schemeClr val="bg1"/>
                </a:solidFill>
              </a:defRPr>
            </a:lvl1pPr>
            <a:lvl2pPr algn="r">
              <a:defRPr sz="2498">
                <a:solidFill>
                  <a:schemeClr val="bg1"/>
                </a:solidFill>
              </a:defRPr>
            </a:lvl2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</p:txBody>
      </p:sp>
    </p:spTree>
    <p:extLst>
      <p:ext uri="{BB962C8B-B14F-4D97-AF65-F5344CB8AC3E}">
        <p14:creationId xmlns:p14="http://schemas.microsoft.com/office/powerpoint/2010/main" val="23826478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chart full color">
    <p:bg>
      <p:bgPr>
        <a:solidFill>
          <a:srgbClr val="EA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1623600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rgbClr val="FFFFFF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rgbClr val="FFFFFF"/>
                </a:solidFill>
                <a:latin typeface="+mn-lt"/>
              </a:rPr>
            </a:b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rgbClr val="FFFFFF"/>
                </a:solidFill>
                <a:latin typeface="+mj-lt"/>
              </a:rPr>
              <a:t>eon-brand.com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8" name="Rechteck 7"/>
            <p:cNvSpPr/>
            <p:nvPr/>
          </p:nvSpPr>
          <p:spPr>
            <a:xfrm>
              <a:off x="7884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/>
          </p:nvSpPr>
          <p:spPr>
            <a:xfrm>
              <a:off x="0" y="0"/>
              <a:ext cx="7884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343200" y="0"/>
              <a:ext cx="28008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2" name="EON_Logo_w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200" y="3261600"/>
            <a:ext cx="2124877" cy="630000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1623600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rgbClr val="FFFFFF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rgbClr val="FFFFFF"/>
                </a:solidFill>
                <a:latin typeface="+mn-lt"/>
              </a:rPr>
            </a:b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rgbClr val="FFFFFF"/>
                </a:solidFill>
                <a:latin typeface="+mj-lt"/>
              </a:rPr>
              <a:t>eon-brand.com</a:t>
            </a:r>
          </a:p>
        </p:txBody>
      </p:sp>
    </p:spTree>
    <p:extLst>
      <p:ext uri="{BB962C8B-B14F-4D97-AF65-F5344CB8AC3E}">
        <p14:creationId xmlns:p14="http://schemas.microsoft.com/office/powerpoint/2010/main" val="8552978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8000" y="1370332"/>
            <a:ext cx="4068588" cy="3187884"/>
          </a:xfrm>
        </p:spPr>
        <p:txBody>
          <a:bodyPr/>
          <a:lstStyle>
            <a:lvl1pPr>
              <a:defRPr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noProof="0" dirty="0"/>
              <a:t>Headline, 14 </a:t>
            </a:r>
            <a:r>
              <a:rPr lang="hu-HU" noProof="0" dirty="0" err="1"/>
              <a:t>pt</a:t>
            </a:r>
            <a:r>
              <a:rPr lang="hu-HU" noProof="0" dirty="0"/>
              <a:t>, </a:t>
            </a:r>
            <a:r>
              <a:rPr lang="hu-HU" noProof="0" dirty="0" err="1"/>
              <a:t>Brix</a:t>
            </a:r>
            <a:r>
              <a:rPr lang="hu-HU" noProof="0" dirty="0"/>
              <a:t> </a:t>
            </a:r>
            <a:r>
              <a:rPr lang="hu-HU" noProof="0" dirty="0" err="1"/>
              <a:t>sansa</a:t>
            </a:r>
            <a:r>
              <a:rPr lang="hu-HU" noProof="0" dirty="0"/>
              <a:t> </a:t>
            </a:r>
            <a:r>
              <a:rPr lang="hu-HU" noProof="0" dirty="0" err="1"/>
              <a:t>balck</a:t>
            </a:r>
            <a:endParaRPr lang="hu-HU" noProof="0" dirty="0"/>
          </a:p>
          <a:p>
            <a:pPr lvl="1"/>
            <a:r>
              <a:rPr lang="hu-HU" noProof="0" dirty="0"/>
              <a:t>Második szint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697413" y="1370332"/>
            <a:ext cx="4068588" cy="3187884"/>
          </a:xfrm>
        </p:spPr>
        <p:txBody>
          <a:bodyPr/>
          <a:lstStyle>
            <a:lvl1pPr>
              <a:defRPr>
                <a:latin typeface="+mj-lt"/>
              </a:defRPr>
            </a:lvl1pPr>
            <a:lvl2pPr marL="1" indent="0">
              <a:buNone/>
              <a:defRPr/>
            </a:lvl2pPr>
          </a:lstStyle>
          <a:p>
            <a:pPr lvl="0"/>
            <a:r>
              <a:rPr lang="hu-HU" noProof="0" dirty="0"/>
              <a:t>Headline </a:t>
            </a:r>
          </a:p>
          <a:p>
            <a:pPr lvl="1"/>
            <a:r>
              <a:rPr lang="hu-HU" noProof="0" dirty="0"/>
              <a:t>Második szint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B34DCCA-7814-40E5-82CA-B32970F39BE1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noProof="0" dirty="0" err="1"/>
              <a:t>Two</a:t>
            </a:r>
            <a:r>
              <a:rPr lang="hu-HU" noProof="0" dirty="0"/>
              <a:t> </a:t>
            </a:r>
            <a:r>
              <a:rPr lang="hu-HU" noProof="0" dirty="0" err="1"/>
              <a:t>columns</a:t>
            </a:r>
            <a:endParaRPr lang="en-GB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0BF34C24-E91C-4E64-A6FC-638E9BCF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8" name="Dátum helye 2">
            <a:extLst>
              <a:ext uri="{FF2B5EF4-FFF2-40B4-BE49-F238E27FC236}">
                <a16:creationId xmlns:a16="http://schemas.microsoft.com/office/drawing/2014/main" id="{9B23FE07-42F8-4C1A-A6AE-0F4DA3E9AC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DE4E410-7EB1-4C51-AC2A-398084DDA41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9" name="Dia számának helye 4">
            <a:extLst>
              <a:ext uri="{FF2B5EF4-FFF2-40B4-BE49-F238E27FC236}">
                <a16:creationId xmlns:a16="http://schemas.microsoft.com/office/drawing/2014/main" id="{0B7EA162-4EA6-4A2F-89A7-0AB324A03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4898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0331"/>
            <a:ext cx="2627138" cy="3201669"/>
          </a:xfrm>
        </p:spPr>
        <p:txBody>
          <a:bodyPr/>
          <a:lstStyle>
            <a:lvl1pPr>
              <a:lnSpc>
                <a:spcPts val="1374"/>
              </a:lnSpc>
              <a:defRPr sz="1099">
                <a:latin typeface="+mj-lt"/>
              </a:defRPr>
            </a:lvl1pPr>
            <a:lvl2pPr marL="1" indent="0">
              <a:lnSpc>
                <a:spcPts val="1374"/>
              </a:lnSpc>
              <a:buNone/>
              <a:defRPr sz="1099"/>
            </a:lvl2pPr>
            <a:lvl3pPr>
              <a:lnSpc>
                <a:spcPts val="1374"/>
              </a:lnSpc>
              <a:defRPr sz="1099"/>
            </a:lvl3pPr>
            <a:lvl4pPr>
              <a:lnSpc>
                <a:spcPts val="1374"/>
              </a:lnSpc>
              <a:defRPr sz="1099"/>
            </a:lvl4pPr>
            <a:lvl5pPr>
              <a:lnSpc>
                <a:spcPts val="1374"/>
              </a:lnSpc>
              <a:defRPr sz="1099"/>
            </a:lvl5pPr>
          </a:lstStyle>
          <a:p>
            <a:pPr lvl="0"/>
            <a:r>
              <a:rPr lang="hu-HU" noProof="0" dirty="0"/>
              <a:t>Mintaszöveg szerkesztése</a:t>
            </a:r>
          </a:p>
          <a:p>
            <a:pPr lvl="1"/>
            <a:r>
              <a:rPr lang="hu-HU" noProof="0" dirty="0"/>
              <a:t>Második szint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257725" y="1370331"/>
            <a:ext cx="2627138" cy="3201669"/>
          </a:xfrm>
        </p:spPr>
        <p:txBody>
          <a:bodyPr/>
          <a:lstStyle>
            <a:lvl1pPr>
              <a:lnSpc>
                <a:spcPts val="1374"/>
              </a:lnSpc>
              <a:defRPr sz="1100">
                <a:latin typeface="+mj-lt"/>
              </a:defRPr>
            </a:lvl1pPr>
            <a:lvl2pPr marL="1" indent="0">
              <a:lnSpc>
                <a:spcPts val="1374"/>
              </a:lnSpc>
              <a:buFontTx/>
              <a:buNone/>
              <a:defRPr sz="1099"/>
            </a:lvl2pPr>
            <a:lvl3pPr>
              <a:lnSpc>
                <a:spcPts val="1374"/>
              </a:lnSpc>
              <a:defRPr sz="1099"/>
            </a:lvl3pPr>
            <a:lvl4pPr>
              <a:lnSpc>
                <a:spcPts val="1374"/>
              </a:lnSpc>
              <a:defRPr sz="1099"/>
            </a:lvl4pPr>
            <a:lvl5pPr>
              <a:lnSpc>
                <a:spcPts val="1374"/>
              </a:lnSpc>
              <a:defRPr sz="1099"/>
            </a:lvl5pPr>
          </a:lstStyle>
          <a:p>
            <a:pPr lvl="0"/>
            <a:r>
              <a:rPr lang="hu-HU" noProof="0" dirty="0"/>
              <a:t>Mintaszöveg szerkesztése</a:t>
            </a:r>
          </a:p>
          <a:p>
            <a:pPr lvl="1"/>
            <a:r>
              <a:rPr lang="hu-HU" noProof="0" dirty="0"/>
              <a:t>Második szint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/>
          </p:nvPr>
        </p:nvSpPr>
        <p:spPr>
          <a:xfrm>
            <a:off x="6140625" y="1370331"/>
            <a:ext cx="2627138" cy="3201669"/>
          </a:xfrm>
        </p:spPr>
        <p:txBody>
          <a:bodyPr/>
          <a:lstStyle>
            <a:lvl1pPr>
              <a:lnSpc>
                <a:spcPts val="1374"/>
              </a:lnSpc>
              <a:defRPr sz="1099">
                <a:latin typeface="+mj-lt"/>
              </a:defRPr>
            </a:lvl1pPr>
            <a:lvl2pPr marL="1" indent="0">
              <a:lnSpc>
                <a:spcPts val="1374"/>
              </a:lnSpc>
              <a:buFontTx/>
              <a:buNone/>
              <a:defRPr sz="1099"/>
            </a:lvl2pPr>
            <a:lvl3pPr>
              <a:lnSpc>
                <a:spcPts val="1374"/>
              </a:lnSpc>
              <a:defRPr sz="1099"/>
            </a:lvl3pPr>
            <a:lvl4pPr>
              <a:lnSpc>
                <a:spcPts val="1374"/>
              </a:lnSpc>
              <a:defRPr sz="1099"/>
            </a:lvl4pPr>
            <a:lvl5pPr>
              <a:lnSpc>
                <a:spcPts val="1374"/>
              </a:lnSpc>
              <a:defRPr sz="1099"/>
            </a:lvl5pPr>
          </a:lstStyle>
          <a:p>
            <a:pPr lvl="0"/>
            <a:r>
              <a:rPr lang="hu-HU" noProof="0" dirty="0"/>
              <a:t>Mintaszöveg szerkesztése</a:t>
            </a:r>
          </a:p>
          <a:p>
            <a:pPr lvl="1"/>
            <a:r>
              <a:rPr lang="hu-HU" noProof="0" dirty="0"/>
              <a:t>Második szint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06EF1B7-F326-4272-8A54-0556B5E2110A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noProof="0" dirty="0" err="1"/>
              <a:t>Three</a:t>
            </a:r>
            <a:r>
              <a:rPr lang="hu-HU" noProof="0" dirty="0"/>
              <a:t> </a:t>
            </a:r>
            <a:r>
              <a:rPr lang="hu-HU" noProof="0" dirty="0" err="1"/>
              <a:t>columns</a:t>
            </a:r>
            <a:endParaRPr lang="en-GB" dirty="0"/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5E7E0C75-2B00-42CF-84B0-79B20EFA9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9" name="Dátum helye 2">
            <a:extLst>
              <a:ext uri="{FF2B5EF4-FFF2-40B4-BE49-F238E27FC236}">
                <a16:creationId xmlns:a16="http://schemas.microsoft.com/office/drawing/2014/main" id="{3BB6A9A5-8940-4E72-AE0D-F25FC965C2C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597ABE3-013B-4922-92FF-3B376C6D6735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2" name="Dia számának helye 4">
            <a:extLst>
              <a:ext uri="{FF2B5EF4-FFF2-40B4-BE49-F238E27FC236}">
                <a16:creationId xmlns:a16="http://schemas.microsoft.com/office/drawing/2014/main" id="{620407AC-B504-41D5-8D10-0DEB681F0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570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Agenda 1 column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EON_Logo_w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354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full color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16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16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414400" y="522000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A27FFB42-4A8B-4D37-A240-850F2710F0B5}" type="datetime1">
              <a:rPr lang="hu-HU" smtClean="0"/>
              <a:t>2022. 05. 02.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7786800" y="0"/>
              <a:ext cx="1357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218000" y="0"/>
              <a:ext cx="5688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EON_Logo_w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6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31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2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2574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3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3413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 with text hierarchi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"/>
          <p:cNvSpPr>
            <a:spLocks noGrp="1"/>
          </p:cNvSpPr>
          <p:nvPr>
            <p:ph idx="1" hasCustomPrompt="1"/>
          </p:nvPr>
        </p:nvSpPr>
        <p:spPr>
          <a:xfrm>
            <a:off x="377999" y="1370331"/>
            <a:ext cx="6555817" cy="3394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+mj-lt"/>
              </a:defRPr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A39613F0-B363-4F83-92AC-21B6356FF3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7999" y="318264"/>
            <a:ext cx="4067175" cy="720000"/>
          </a:xfrm>
        </p:spPr>
        <p:txBody>
          <a:bodyPr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hu-HU" noProof="0" dirty="0" err="1"/>
              <a:t>Bullet</a:t>
            </a:r>
            <a:r>
              <a:rPr lang="hu-HU" noProof="0" dirty="0"/>
              <a:t> </a:t>
            </a:r>
            <a:r>
              <a:rPr lang="hu-HU" noProof="0" dirty="0" err="1"/>
              <a:t>points</a:t>
            </a:r>
            <a:r>
              <a:rPr lang="hu-HU" noProof="0" dirty="0"/>
              <a:t> </a:t>
            </a:r>
            <a:r>
              <a:rPr lang="hu-HU" noProof="0" dirty="0" err="1"/>
              <a:t>with</a:t>
            </a:r>
            <a:r>
              <a:rPr lang="hu-HU" noProof="0" dirty="0"/>
              <a:t> text </a:t>
            </a:r>
            <a:r>
              <a:rPr lang="hu-HU" noProof="0" dirty="0" err="1"/>
              <a:t>hierarchies</a:t>
            </a:r>
            <a:r>
              <a:rPr lang="hu-HU" noProof="0" dirty="0"/>
              <a:t> </a:t>
            </a:r>
            <a:endParaRPr lang="en-GB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99CA658-EECB-4773-86E2-FC2AD30547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9" name="Dátum helye 2">
            <a:extLst>
              <a:ext uri="{FF2B5EF4-FFF2-40B4-BE49-F238E27FC236}">
                <a16:creationId xmlns:a16="http://schemas.microsoft.com/office/drawing/2014/main" id="{E1DD7CB2-79D5-4792-9155-002A269B4F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E39AD46-5DD3-4624-8EEF-958D4034B21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2" name="Dia számának helye 4">
            <a:extLst>
              <a:ext uri="{FF2B5EF4-FFF2-40B4-BE49-F238E27FC236}">
                <a16:creationId xmlns:a16="http://schemas.microsoft.com/office/drawing/2014/main" id="{62B13C88-6F24-4FDE-899F-03E0928D2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2933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 with text hierarc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DD8712A9-6145-498A-83FC-E9816841F7BA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noProof="0" dirty="0" err="1"/>
              <a:t>Bullet</a:t>
            </a:r>
            <a:r>
              <a:rPr lang="hu-HU" noProof="0" dirty="0"/>
              <a:t> </a:t>
            </a:r>
            <a:r>
              <a:rPr lang="hu-HU" noProof="0" dirty="0" err="1"/>
              <a:t>points</a:t>
            </a:r>
            <a:r>
              <a:rPr lang="hu-HU" noProof="0" dirty="0"/>
              <a:t> </a:t>
            </a:r>
            <a:r>
              <a:rPr lang="hu-HU" noProof="0" dirty="0" err="1"/>
              <a:t>with</a:t>
            </a:r>
            <a:r>
              <a:rPr lang="hu-HU" noProof="0" dirty="0"/>
              <a:t> text </a:t>
            </a:r>
            <a:r>
              <a:rPr lang="hu-HU" noProof="0" dirty="0" err="1"/>
              <a:t>hierarchies</a:t>
            </a:r>
            <a:r>
              <a:rPr lang="hu-HU" noProof="0" dirty="0"/>
              <a:t> and </a:t>
            </a:r>
            <a:r>
              <a:rPr lang="hu-HU" noProof="0" dirty="0" err="1"/>
              <a:t>subordinate</a:t>
            </a:r>
            <a:r>
              <a:rPr lang="hu-HU" noProof="0" dirty="0"/>
              <a:t> </a:t>
            </a:r>
            <a:r>
              <a:rPr lang="hu-HU" noProof="0" dirty="0" err="1"/>
              <a:t>note</a:t>
            </a:r>
            <a:endParaRPr lang="en-GB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B2E8F2B-D5B1-40A9-B166-5176DC2FF8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999" y="1370331"/>
            <a:ext cx="6555817" cy="30835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+mj-lt"/>
              </a:defRPr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</a:t>
            </a:r>
            <a:endParaRPr lang="en-GB" noProof="0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4CD0440-35A5-4C05-81EA-AC3DA9A447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999" y="4629138"/>
            <a:ext cx="6555817" cy="3556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hu-HU" dirty="0" err="1"/>
              <a:t>Subordinate</a:t>
            </a:r>
            <a:r>
              <a:rPr lang="hu-HU" dirty="0"/>
              <a:t> </a:t>
            </a:r>
            <a:r>
              <a:rPr lang="hu-HU" dirty="0" err="1"/>
              <a:t>note</a:t>
            </a:r>
            <a:endParaRPr lang="hu-HU" dirty="0"/>
          </a:p>
          <a:p>
            <a:pPr lvl="0"/>
            <a:r>
              <a:rPr lang="hu-HU" dirty="0" err="1"/>
              <a:t>Copy</a:t>
            </a:r>
            <a:r>
              <a:rPr lang="hu-HU" dirty="0"/>
              <a:t> text, 9 </a:t>
            </a:r>
            <a:r>
              <a:rPr lang="hu-HU" dirty="0" err="1"/>
              <a:t>pt</a:t>
            </a:r>
            <a:r>
              <a:rPr lang="hu-HU" dirty="0"/>
              <a:t> </a:t>
            </a:r>
            <a:r>
              <a:rPr lang="hu-HU" dirty="0" err="1"/>
              <a:t>Brix</a:t>
            </a:r>
            <a:r>
              <a:rPr lang="hu-HU" dirty="0"/>
              <a:t> </a:t>
            </a:r>
            <a:r>
              <a:rPr lang="hu-HU" dirty="0" err="1"/>
              <a:t>Sans</a:t>
            </a:r>
            <a:r>
              <a:rPr lang="hu-HU" dirty="0"/>
              <a:t> </a:t>
            </a:r>
            <a:r>
              <a:rPr lang="hu-HU" dirty="0" err="1"/>
              <a:t>Regular</a:t>
            </a:r>
            <a:endParaRPr lang="hu-HU" dirty="0"/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92C4B85-22EA-471C-A508-AD2CE1830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8" name="Dátum helye 2">
            <a:extLst>
              <a:ext uri="{FF2B5EF4-FFF2-40B4-BE49-F238E27FC236}">
                <a16:creationId xmlns:a16="http://schemas.microsoft.com/office/drawing/2014/main" id="{321437EB-F213-4491-8A48-A19ED08D3C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95ED54B-D76A-4154-A705-761AD63EA9B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9" name="Dia számának helye 4">
            <a:extLst>
              <a:ext uri="{FF2B5EF4-FFF2-40B4-BE49-F238E27FC236}">
                <a16:creationId xmlns:a16="http://schemas.microsoft.com/office/drawing/2014/main" id="{F4AED248-BCD1-4F54-9660-7734DB05B5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4299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zöveg helye 19">
            <a:extLst>
              <a:ext uri="{FF2B5EF4-FFF2-40B4-BE49-F238E27FC236}">
                <a16:creationId xmlns:a16="http://schemas.microsoft.com/office/drawing/2014/main" id="{E9BAECBA-D93B-4846-9972-65070491B6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5" y="1328738"/>
            <a:ext cx="5538788" cy="2641600"/>
          </a:xfrm>
        </p:spPr>
        <p:txBody>
          <a:bodyPr/>
          <a:lstStyle>
            <a:lvl1pPr marL="34290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defRPr>
                <a:latin typeface="+mj-lt"/>
              </a:defRPr>
            </a:lvl1pPr>
            <a:lvl3pPr>
              <a:defRPr/>
            </a:lvl3pPr>
            <a:lvl4pPr marL="538163" indent="-179387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Chapter</a:t>
            </a:r>
            <a:r>
              <a:rPr lang="hu-HU" dirty="0"/>
              <a:t> 1</a:t>
            </a:r>
          </a:p>
          <a:p>
            <a:pPr lvl="0"/>
            <a:r>
              <a:rPr lang="hu-HU" dirty="0"/>
              <a:t>Headline </a:t>
            </a:r>
            <a:r>
              <a:rPr lang="hu-HU" dirty="0" err="1"/>
              <a:t>Chapter</a:t>
            </a:r>
            <a:r>
              <a:rPr lang="hu-HU" dirty="0"/>
              <a:t> 2</a:t>
            </a:r>
          </a:p>
          <a:p>
            <a:pPr lvl="0"/>
            <a:r>
              <a:rPr lang="hu-HU" dirty="0"/>
              <a:t>Headline </a:t>
            </a:r>
            <a:r>
              <a:rPr lang="hu-HU" dirty="0" err="1"/>
              <a:t>Chapter</a:t>
            </a:r>
            <a:r>
              <a:rPr lang="hu-HU" dirty="0"/>
              <a:t> 3</a:t>
            </a:r>
          </a:p>
          <a:p>
            <a:pPr lvl="0"/>
            <a:r>
              <a:rPr lang="hu-HU" dirty="0"/>
              <a:t>Headline </a:t>
            </a:r>
            <a:r>
              <a:rPr lang="hu-HU" dirty="0" err="1"/>
              <a:t>Chapter</a:t>
            </a:r>
            <a:r>
              <a:rPr lang="hu-HU" dirty="0"/>
              <a:t> 4</a:t>
            </a:r>
          </a:p>
          <a:p>
            <a:pPr lvl="0"/>
            <a:r>
              <a:rPr lang="hu-HU" dirty="0"/>
              <a:t>Headline </a:t>
            </a:r>
            <a:r>
              <a:rPr lang="hu-HU" dirty="0" err="1"/>
              <a:t>Chapter</a:t>
            </a:r>
            <a:r>
              <a:rPr lang="hu-HU" dirty="0"/>
              <a:t> 5</a:t>
            </a:r>
          </a:p>
          <a:p>
            <a:pPr lvl="3"/>
            <a:r>
              <a:rPr lang="hu-HU" dirty="0" err="1"/>
              <a:t>Subchapter</a:t>
            </a:r>
            <a:r>
              <a:rPr lang="hu-HU" dirty="0"/>
              <a:t> </a:t>
            </a:r>
            <a:r>
              <a:rPr lang="hu-HU" dirty="0" err="1"/>
              <a:t>utem</a:t>
            </a:r>
            <a:endParaRPr lang="hu-HU" dirty="0"/>
          </a:p>
          <a:p>
            <a:pPr lvl="3"/>
            <a:r>
              <a:rPr lang="hu-HU" dirty="0" err="1"/>
              <a:t>Subchapter</a:t>
            </a:r>
            <a:r>
              <a:rPr lang="hu-HU" dirty="0"/>
              <a:t> ad </a:t>
            </a:r>
            <a:r>
              <a:rPr lang="hu-HU" dirty="0" err="1"/>
              <a:t>ut</a:t>
            </a:r>
            <a:endParaRPr lang="hu-HU" dirty="0"/>
          </a:p>
          <a:p>
            <a:pPr lvl="3"/>
            <a:r>
              <a:rPr lang="hu-HU" dirty="0" err="1"/>
              <a:t>Subchapter</a:t>
            </a:r>
            <a:r>
              <a:rPr lang="hu-HU" dirty="0"/>
              <a:t> </a:t>
            </a:r>
            <a:r>
              <a:rPr lang="hu-HU" dirty="0" err="1"/>
              <a:t>que</a:t>
            </a:r>
            <a:r>
              <a:rPr lang="hu-HU" dirty="0"/>
              <a:t> </a:t>
            </a:r>
            <a:r>
              <a:rPr lang="hu-HU" dirty="0" err="1"/>
              <a:t>eius</a:t>
            </a:r>
            <a:endParaRPr lang="hu-HU" dirty="0"/>
          </a:p>
        </p:txBody>
      </p:sp>
      <p:pic>
        <p:nvPicPr>
          <p:cNvPr id="14" name="Grafik 3">
            <a:extLst>
              <a:ext uri="{FF2B5EF4-FFF2-40B4-BE49-F238E27FC236}">
                <a16:creationId xmlns:a16="http://schemas.microsoft.com/office/drawing/2014/main" id="{B4E0873C-2481-46F8-9042-AD446339AD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0" y="4324701"/>
            <a:ext cx="1548000" cy="458963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5F64946B-BBA8-4DE4-9F3B-BC4F1F3879EE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Agenda</a:t>
            </a:r>
            <a:endParaRPr lang="en-GB" dirty="0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8F9E6102-AAE2-4106-BF26-F55A97B8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973930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zöveg helye 22">
            <a:extLst>
              <a:ext uri="{FF2B5EF4-FFF2-40B4-BE49-F238E27FC236}">
                <a16:creationId xmlns:a16="http://schemas.microsoft.com/office/drawing/2014/main" id="{E99B8097-527E-4186-BE34-1247335890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000" y="1602000"/>
            <a:ext cx="5336671" cy="3295185"/>
          </a:xfrm>
        </p:spPr>
        <p:txBody>
          <a:bodyPr/>
          <a:lstStyle>
            <a:lvl1pPr marL="625475" indent="-625475">
              <a:buFont typeface="+mj-lt"/>
              <a:buAutoNum type="arabicPeriod"/>
              <a:defRPr/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ip</a:t>
            </a:r>
            <a:endParaRPr lang="hu-HU" dirty="0"/>
          </a:p>
          <a:p>
            <a:pPr lvl="0"/>
            <a:r>
              <a:rPr lang="hu-HU" dirty="0" err="1"/>
              <a:t>Consetetur</a:t>
            </a:r>
            <a:r>
              <a:rPr lang="hu-HU" dirty="0"/>
              <a:t> </a:t>
            </a:r>
            <a:r>
              <a:rPr lang="hu-HU" dirty="0" err="1"/>
              <a:t>sadipscing</a:t>
            </a:r>
            <a:r>
              <a:rPr lang="hu-HU" dirty="0"/>
              <a:t> </a:t>
            </a:r>
            <a:r>
              <a:rPr lang="hu-HU" dirty="0" err="1"/>
              <a:t>elitr</a:t>
            </a:r>
            <a:r>
              <a:rPr lang="hu-HU" dirty="0"/>
              <a:t> </a:t>
            </a:r>
            <a:r>
              <a:rPr lang="hu-HU" dirty="0" err="1"/>
              <a:t>sed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92527136-D67A-46A4-A0FA-F2BBD63E47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79600" y="1602000"/>
            <a:ext cx="2592387" cy="210508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 err="1"/>
              <a:t>Name</a:t>
            </a:r>
            <a:endParaRPr lang="hu-HU" dirty="0"/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 err="1"/>
              <a:t>Name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r>
              <a:rPr lang="hu-HU" dirty="0" err="1"/>
              <a:t>Name</a:t>
            </a:r>
            <a:endParaRPr lang="hu-HU" dirty="0"/>
          </a:p>
          <a:p>
            <a:pPr lvl="0"/>
            <a:r>
              <a:rPr lang="hu-HU" dirty="0" err="1"/>
              <a:t>Name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r>
              <a:rPr lang="hu-HU" dirty="0" err="1"/>
              <a:t>Surname</a:t>
            </a:r>
            <a:r>
              <a:rPr lang="hu-HU" dirty="0"/>
              <a:t> </a:t>
            </a:r>
            <a:r>
              <a:rPr lang="hu-HU" dirty="0" err="1"/>
              <a:t>Name</a:t>
            </a:r>
            <a:endParaRPr lang="hu-HU" dirty="0"/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pic>
        <p:nvPicPr>
          <p:cNvPr id="13" name="Grafik 3">
            <a:extLst>
              <a:ext uri="{FF2B5EF4-FFF2-40B4-BE49-F238E27FC236}">
                <a16:creationId xmlns:a16="http://schemas.microsoft.com/office/drawing/2014/main" id="{6BD8F9AC-436C-4316-9B83-D35ACA574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0" y="4324701"/>
            <a:ext cx="1548000" cy="458963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D3112780-45B6-4CD8-ABFD-A96C26F2BC2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Agenda</a:t>
            </a:r>
            <a:endParaRPr lang="en-GB" dirty="0"/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A2E2B77-2CFA-4CF2-93F9-459D73197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cxnSp>
        <p:nvCxnSpPr>
          <p:cNvPr id="5" name="Egyenes összekötő 4">
            <a:extLst>
              <a:ext uri="{FF2B5EF4-FFF2-40B4-BE49-F238E27FC236}">
                <a16:creationId xmlns:a16="http://schemas.microsoft.com/office/drawing/2014/main" id="{EF9AD5E2-32A7-484C-812F-46ABC70E2AFF}"/>
              </a:ext>
            </a:extLst>
          </p:cNvPr>
          <p:cNvCxnSpPr/>
          <p:nvPr userDrawn="1"/>
        </p:nvCxnSpPr>
        <p:spPr>
          <a:xfrm>
            <a:off x="378000" y="1508465"/>
            <a:ext cx="5318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Egyenes összekötő 6">
            <a:extLst>
              <a:ext uri="{FF2B5EF4-FFF2-40B4-BE49-F238E27FC236}">
                <a16:creationId xmlns:a16="http://schemas.microsoft.com/office/drawing/2014/main" id="{2107034F-63D2-4B3C-996B-D87333B549F6}"/>
              </a:ext>
            </a:extLst>
          </p:cNvPr>
          <p:cNvCxnSpPr/>
          <p:nvPr userDrawn="1"/>
        </p:nvCxnSpPr>
        <p:spPr>
          <a:xfrm>
            <a:off x="1031022" y="1509778"/>
            <a:ext cx="468364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Egyenes összekötő 25">
            <a:extLst>
              <a:ext uri="{FF2B5EF4-FFF2-40B4-BE49-F238E27FC236}">
                <a16:creationId xmlns:a16="http://schemas.microsoft.com/office/drawing/2014/main" id="{34CBAA55-032B-4867-8D36-2066A7E606C9}"/>
              </a:ext>
            </a:extLst>
          </p:cNvPr>
          <p:cNvCxnSpPr>
            <a:cxnSpLocks/>
          </p:cNvCxnSpPr>
          <p:nvPr userDrawn="1"/>
        </p:nvCxnSpPr>
        <p:spPr>
          <a:xfrm>
            <a:off x="5979600" y="1509778"/>
            <a:ext cx="25532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83E369FC-76AA-4A5C-A65F-517F3722612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241425"/>
            <a:ext cx="531813" cy="215900"/>
          </a:xfrm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hu-HU" dirty="0"/>
              <a:t>Top</a:t>
            </a:r>
          </a:p>
        </p:txBody>
      </p:sp>
      <p:sp>
        <p:nvSpPr>
          <p:cNvPr id="17" name="Tartalom helye 2">
            <a:extLst>
              <a:ext uri="{FF2B5EF4-FFF2-40B4-BE49-F238E27FC236}">
                <a16:creationId xmlns:a16="http://schemas.microsoft.com/office/drawing/2014/main" id="{66493D14-D226-4BCE-871C-E2A42A71630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31022" y="1241425"/>
            <a:ext cx="531813" cy="2159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Topics</a:t>
            </a:r>
            <a:endParaRPr lang="hu-HU" dirty="0"/>
          </a:p>
        </p:txBody>
      </p:sp>
      <p:sp>
        <p:nvSpPr>
          <p:cNvPr id="18" name="Tartalom helye 2">
            <a:extLst>
              <a:ext uri="{FF2B5EF4-FFF2-40B4-BE49-F238E27FC236}">
                <a16:creationId xmlns:a16="http://schemas.microsoft.com/office/drawing/2014/main" id="{0250C678-71A4-4024-8D6A-790DABCA9E0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979600" y="1241425"/>
            <a:ext cx="954216" cy="2159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Responsib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8469818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zöveg helye 22">
            <a:extLst>
              <a:ext uri="{FF2B5EF4-FFF2-40B4-BE49-F238E27FC236}">
                <a16:creationId xmlns:a16="http://schemas.microsoft.com/office/drawing/2014/main" id="{E99B8097-527E-4186-BE34-1247335890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000" y="1602788"/>
            <a:ext cx="5336671" cy="3295185"/>
          </a:xfrm>
        </p:spPr>
        <p:txBody>
          <a:bodyPr/>
          <a:lstStyle>
            <a:lvl1pPr marL="625475" indent="-625475">
              <a:buFont typeface="+mj-lt"/>
              <a:buAutoNum type="arabicPeriod"/>
              <a:defRPr/>
            </a:lvl1pPr>
            <a:lvl4pPr marL="625475" indent="0">
              <a:buNone/>
              <a:defRPr>
                <a:latin typeface="+mj-lt"/>
              </a:defRPr>
            </a:lvl4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3"/>
            <a:endParaRPr lang="hu-HU" dirty="0"/>
          </a:p>
          <a:p>
            <a:pPr lvl="3"/>
            <a:r>
              <a:rPr lang="hu-HU" dirty="0" err="1"/>
              <a:t>Lunch</a:t>
            </a:r>
            <a:r>
              <a:rPr lang="hu-HU" dirty="0"/>
              <a:t> </a:t>
            </a:r>
            <a:r>
              <a:rPr lang="hu-HU" dirty="0" err="1"/>
              <a:t>break</a:t>
            </a:r>
            <a:endParaRPr lang="hu-HU" dirty="0"/>
          </a:p>
          <a:p>
            <a:pPr lvl="0"/>
            <a:endParaRPr lang="hu-HU" dirty="0"/>
          </a:p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0"/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92527136-D67A-46A4-A0FA-F2BBD63E47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78590" y="1602788"/>
            <a:ext cx="1459693" cy="23905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 err="1"/>
              <a:t>Name</a:t>
            </a:r>
            <a:endParaRPr lang="hu-HU" dirty="0"/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0"/>
            <a:r>
              <a:rPr lang="hu-HU" dirty="0" err="1"/>
              <a:t>Name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endParaRPr lang="hu-HU" dirty="0"/>
          </a:p>
          <a:p>
            <a:pPr lvl="0"/>
            <a:endParaRPr lang="hu-HU" dirty="0"/>
          </a:p>
          <a:p>
            <a:pPr lvl="0"/>
            <a:endParaRPr lang="hu-HU" dirty="0"/>
          </a:p>
          <a:p>
            <a:pPr lvl="0"/>
            <a:r>
              <a:rPr lang="hu-HU" dirty="0" err="1"/>
              <a:t>Surname</a:t>
            </a:r>
            <a:r>
              <a:rPr lang="hu-HU" dirty="0"/>
              <a:t> </a:t>
            </a:r>
            <a:r>
              <a:rPr lang="hu-HU" dirty="0" err="1"/>
              <a:t>Name</a:t>
            </a:r>
            <a:endParaRPr lang="hu-HU" dirty="0"/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2" name="Szöveg helye 26">
            <a:extLst>
              <a:ext uri="{FF2B5EF4-FFF2-40B4-BE49-F238E27FC236}">
                <a16:creationId xmlns:a16="http://schemas.microsoft.com/office/drawing/2014/main" id="{621C6D17-BECE-4443-8033-780EC93D67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45291" y="1602788"/>
            <a:ext cx="1459693" cy="23905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hu-HU" dirty="0"/>
              <a:t>09.00 – 10:30</a:t>
            </a:r>
          </a:p>
          <a:p>
            <a:pPr lvl="0"/>
            <a:r>
              <a:rPr lang="hu-HU" dirty="0"/>
              <a:t>10.30 – 12:30</a:t>
            </a:r>
          </a:p>
          <a:p>
            <a:pPr lvl="0"/>
            <a:r>
              <a:rPr lang="hu-HU" dirty="0"/>
              <a:t>12:45 – 13:00</a:t>
            </a:r>
          </a:p>
          <a:p>
            <a:pPr lvl="0"/>
            <a:endParaRPr lang="hu-HU" dirty="0"/>
          </a:p>
          <a:p>
            <a:pPr lvl="0"/>
            <a:r>
              <a:rPr lang="hu-HU" dirty="0"/>
              <a:t>13.00 – 14:00</a:t>
            </a:r>
          </a:p>
          <a:p>
            <a:pPr lvl="0"/>
            <a:endParaRPr lang="hu-HU" dirty="0"/>
          </a:p>
          <a:p>
            <a:pPr lvl="0"/>
            <a:r>
              <a:rPr lang="hu-HU" dirty="0"/>
              <a:t>14.15 – 16:00</a:t>
            </a:r>
          </a:p>
          <a:p>
            <a:pPr lvl="0"/>
            <a:r>
              <a:rPr lang="hu-HU" dirty="0"/>
              <a:t>16.00 – 17:30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pic>
        <p:nvPicPr>
          <p:cNvPr id="16" name="Grafik 3">
            <a:extLst>
              <a:ext uri="{FF2B5EF4-FFF2-40B4-BE49-F238E27FC236}">
                <a16:creationId xmlns:a16="http://schemas.microsoft.com/office/drawing/2014/main" id="{85FE09E1-4E33-4701-8731-09035C4191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110" y="4324701"/>
            <a:ext cx="1548000" cy="458963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8F0D79CE-7B5E-4589-BF00-ABADD2EEC21F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Agenda</a:t>
            </a:r>
            <a:endParaRPr lang="en-GB" dirty="0"/>
          </a:p>
        </p:txBody>
      </p:sp>
      <p:sp>
        <p:nvSpPr>
          <p:cNvPr id="22" name="Fußzeilenplatzhalter 6">
            <a:extLst>
              <a:ext uri="{FF2B5EF4-FFF2-40B4-BE49-F238E27FC236}">
                <a16:creationId xmlns:a16="http://schemas.microsoft.com/office/drawing/2014/main" id="{22A3F6A7-3408-4E9D-A5C0-31B88758F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6F264958-C78E-4F4E-9215-7B9437C43345}"/>
              </a:ext>
            </a:extLst>
          </p:cNvPr>
          <p:cNvCxnSpPr/>
          <p:nvPr userDrawn="1"/>
        </p:nvCxnSpPr>
        <p:spPr>
          <a:xfrm>
            <a:off x="1031022" y="1509778"/>
            <a:ext cx="468364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artalom helye 2">
            <a:extLst>
              <a:ext uri="{FF2B5EF4-FFF2-40B4-BE49-F238E27FC236}">
                <a16:creationId xmlns:a16="http://schemas.microsoft.com/office/drawing/2014/main" id="{8CDC32F5-78CE-43A7-AA9B-B08E617F48B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31022" y="1241425"/>
            <a:ext cx="531813" cy="2159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Topics</a:t>
            </a:r>
            <a:endParaRPr lang="hu-HU" dirty="0"/>
          </a:p>
        </p:txBody>
      </p:sp>
      <p:cxnSp>
        <p:nvCxnSpPr>
          <p:cNvPr id="19" name="Egyenes összekötő 18">
            <a:extLst>
              <a:ext uri="{FF2B5EF4-FFF2-40B4-BE49-F238E27FC236}">
                <a16:creationId xmlns:a16="http://schemas.microsoft.com/office/drawing/2014/main" id="{8B280CD6-2DC7-4413-9C89-9F4E2621C97E}"/>
              </a:ext>
            </a:extLst>
          </p:cNvPr>
          <p:cNvCxnSpPr/>
          <p:nvPr userDrawn="1"/>
        </p:nvCxnSpPr>
        <p:spPr>
          <a:xfrm>
            <a:off x="378000" y="1508465"/>
            <a:ext cx="5318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artalom helye 2">
            <a:extLst>
              <a:ext uri="{FF2B5EF4-FFF2-40B4-BE49-F238E27FC236}">
                <a16:creationId xmlns:a16="http://schemas.microsoft.com/office/drawing/2014/main" id="{72235CC6-7E1C-46AB-84B0-2D55180BE99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5" y="1241425"/>
            <a:ext cx="531813" cy="215900"/>
          </a:xfrm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hu-HU" dirty="0"/>
              <a:t>Top</a:t>
            </a:r>
          </a:p>
        </p:txBody>
      </p:sp>
      <p:sp>
        <p:nvSpPr>
          <p:cNvPr id="21" name="Tartalom helye 2">
            <a:extLst>
              <a:ext uri="{FF2B5EF4-FFF2-40B4-BE49-F238E27FC236}">
                <a16:creationId xmlns:a16="http://schemas.microsoft.com/office/drawing/2014/main" id="{CA056AB1-EF50-4710-94B6-CB8F6DBC8D0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979600" y="1241425"/>
            <a:ext cx="954216" cy="2159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Responsible</a:t>
            </a:r>
            <a:endParaRPr lang="hu-HU" dirty="0"/>
          </a:p>
        </p:txBody>
      </p:sp>
      <p:cxnSp>
        <p:nvCxnSpPr>
          <p:cNvPr id="28" name="Egyenes összekötő 27">
            <a:extLst>
              <a:ext uri="{FF2B5EF4-FFF2-40B4-BE49-F238E27FC236}">
                <a16:creationId xmlns:a16="http://schemas.microsoft.com/office/drawing/2014/main" id="{FCF31639-2BF1-46D3-9B4C-FFD11B2CCB6E}"/>
              </a:ext>
            </a:extLst>
          </p:cNvPr>
          <p:cNvCxnSpPr>
            <a:cxnSpLocks/>
          </p:cNvCxnSpPr>
          <p:nvPr userDrawn="1"/>
        </p:nvCxnSpPr>
        <p:spPr>
          <a:xfrm>
            <a:off x="5979600" y="1509778"/>
            <a:ext cx="145868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Egyenes összekötő 28">
            <a:extLst>
              <a:ext uri="{FF2B5EF4-FFF2-40B4-BE49-F238E27FC236}">
                <a16:creationId xmlns:a16="http://schemas.microsoft.com/office/drawing/2014/main" id="{ACE9C647-17F3-410E-9351-FF4EFC3B0F00}"/>
              </a:ext>
            </a:extLst>
          </p:cNvPr>
          <p:cNvCxnSpPr>
            <a:cxnSpLocks/>
          </p:cNvCxnSpPr>
          <p:nvPr userDrawn="1"/>
        </p:nvCxnSpPr>
        <p:spPr>
          <a:xfrm>
            <a:off x="7545291" y="1504793"/>
            <a:ext cx="145868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artalom helye 2">
            <a:extLst>
              <a:ext uri="{FF2B5EF4-FFF2-40B4-BE49-F238E27FC236}">
                <a16:creationId xmlns:a16="http://schemas.microsoft.com/office/drawing/2014/main" id="{66B4ED40-204C-48EB-8960-C2B64D66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545291" y="1241425"/>
            <a:ext cx="954216" cy="2159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Time</a:t>
            </a:r>
          </a:p>
        </p:txBody>
      </p:sp>
    </p:spTree>
    <p:extLst>
      <p:ext uri="{BB962C8B-B14F-4D97-AF65-F5344CB8AC3E}">
        <p14:creationId xmlns:p14="http://schemas.microsoft.com/office/powerpoint/2010/main" val="1820540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38863" y="1370331"/>
            <a:ext cx="2628901" cy="2625569"/>
          </a:xfrm>
        </p:spPr>
        <p:txBody>
          <a:bodyPr/>
          <a:lstStyle>
            <a:lvl1pPr>
              <a:lnSpc>
                <a:spcPts val="1374"/>
              </a:lnSpc>
              <a:defRPr sz="1099"/>
            </a:lvl1pPr>
            <a:lvl2pPr>
              <a:lnSpc>
                <a:spcPts val="1374"/>
              </a:lnSpc>
              <a:defRPr sz="1099"/>
            </a:lvl2pPr>
            <a:lvl3pPr>
              <a:lnSpc>
                <a:spcPts val="1374"/>
              </a:lnSpc>
              <a:defRPr sz="1099"/>
            </a:lvl3pPr>
            <a:lvl4pPr>
              <a:lnSpc>
                <a:spcPts val="1374"/>
              </a:lnSpc>
              <a:defRPr sz="1099"/>
            </a:lvl4pPr>
            <a:lvl5pPr>
              <a:lnSpc>
                <a:spcPts val="1374"/>
              </a:lnSpc>
              <a:defRPr sz="1099"/>
            </a:lvl5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  <a:endParaRPr lang="en-GB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3"/>
          </p:nvPr>
        </p:nvSpPr>
        <p:spPr>
          <a:xfrm>
            <a:off x="-1" y="1370331"/>
            <a:ext cx="5884863" cy="3773169"/>
          </a:xfrm>
        </p:spPr>
        <p:txBody>
          <a:bodyPr/>
          <a:lstStyle/>
          <a:p>
            <a:r>
              <a:rPr lang="hu-HU" noProof="0"/>
              <a:t>Kép beszúrásához kattintson az ikonra</a:t>
            </a:r>
            <a:endParaRPr lang="en-GB" noProof="0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38862" y="4195500"/>
            <a:ext cx="2628901" cy="359667"/>
          </a:xfrm>
        </p:spPr>
        <p:txBody>
          <a:bodyPr anchor="b"/>
          <a:lstStyle>
            <a:lvl1pPr>
              <a:lnSpc>
                <a:spcPts val="1124"/>
              </a:lnSpc>
              <a:defRPr sz="899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Image title, 9 </a:t>
            </a:r>
            <a:r>
              <a:rPr lang="en-GB" noProof="0" dirty="0" err="1"/>
              <a:t>pt</a:t>
            </a:r>
            <a:r>
              <a:rPr lang="en-GB" noProof="0" dirty="0"/>
              <a:t>, Brix Sans Regular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C01A005-1C08-4C5D-9AAC-131E3B719E43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tent</a:t>
            </a:r>
            <a:r>
              <a:rPr lang="hu-HU" dirty="0"/>
              <a:t> </a:t>
            </a:r>
            <a:r>
              <a:rPr lang="hu-HU" dirty="0" err="1"/>
              <a:t>medium</a:t>
            </a:r>
            <a:r>
              <a:rPr lang="hu-HU" dirty="0"/>
              <a:t> image</a:t>
            </a:r>
            <a:endParaRPr lang="en-GB" dirty="0"/>
          </a:p>
        </p:txBody>
      </p:sp>
      <p:pic>
        <p:nvPicPr>
          <p:cNvPr id="18" name="Bildplatzhalter 8">
            <a:extLst>
              <a:ext uri="{FF2B5EF4-FFF2-40B4-BE49-F238E27FC236}">
                <a16:creationId xmlns:a16="http://schemas.microsoft.com/office/drawing/2014/main" id="{227727BE-0013-4546-9987-74633FE6D8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5" b="1875"/>
          <a:stretch>
            <a:fillRect/>
          </a:stretch>
        </p:blipFill>
        <p:spPr>
          <a:xfrm>
            <a:off x="0" y="1371600"/>
            <a:ext cx="5886000" cy="3772800"/>
          </a:xfrm>
          <a:prstGeom prst="rect">
            <a:avLst/>
          </a:prstGeom>
        </p:spPr>
      </p:pic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AA769617-1254-4598-ACCA-CA268CED6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0" name="Dátum helye 2">
            <a:extLst>
              <a:ext uri="{FF2B5EF4-FFF2-40B4-BE49-F238E27FC236}">
                <a16:creationId xmlns:a16="http://schemas.microsoft.com/office/drawing/2014/main" id="{1C25FEF8-EF61-4584-AFEB-B8AEF46F53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B2EBD2D5-130D-4B01-BC56-9EDE633E3FED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1" name="Dia számának helye 4">
            <a:extLst>
              <a:ext uri="{FF2B5EF4-FFF2-40B4-BE49-F238E27FC236}">
                <a16:creationId xmlns:a16="http://schemas.microsoft.com/office/drawing/2014/main" id="{155A6116-2E1D-4DAD-94EC-87677E84B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4063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0331"/>
            <a:ext cx="5506863" cy="3394107"/>
          </a:xfrm>
        </p:spPr>
        <p:txBody>
          <a:bodyPr/>
          <a:lstStyle/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  <a:endParaRPr lang="en-GB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3"/>
          </p:nvPr>
        </p:nvSpPr>
        <p:spPr>
          <a:xfrm>
            <a:off x="6138863" y="1370331"/>
            <a:ext cx="2628900" cy="2625569"/>
          </a:xfrm>
        </p:spPr>
        <p:txBody>
          <a:bodyPr/>
          <a:lstStyle/>
          <a:p>
            <a:r>
              <a:rPr lang="hu-HU" noProof="0"/>
              <a:t>Kép beszúrásához kattintson az ikonra</a:t>
            </a:r>
            <a:endParaRPr lang="en-GB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38862" y="4236855"/>
            <a:ext cx="2628901" cy="359667"/>
          </a:xfrm>
        </p:spPr>
        <p:txBody>
          <a:bodyPr anchor="b"/>
          <a:lstStyle>
            <a:lvl1pPr>
              <a:lnSpc>
                <a:spcPts val="1124"/>
              </a:lnSpc>
              <a:defRPr sz="899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Image title, 9 </a:t>
            </a:r>
            <a:r>
              <a:rPr lang="en-GB" noProof="0" dirty="0" err="1"/>
              <a:t>pt</a:t>
            </a:r>
            <a:r>
              <a:rPr lang="en-GB" noProof="0" dirty="0"/>
              <a:t>, Brix Sans Regular</a:t>
            </a:r>
          </a:p>
        </p:txBody>
      </p:sp>
      <p:pic>
        <p:nvPicPr>
          <p:cNvPr id="9" name="Bildplatzhalter 9">
            <a:extLst>
              <a:ext uri="{FF2B5EF4-FFF2-40B4-BE49-F238E27FC236}">
                <a16:creationId xmlns:a16="http://schemas.microsoft.com/office/drawing/2014/main" id="{5AEF95BB-C3B8-41F1-9779-852F5BE2DD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9" r="16699"/>
          <a:stretch>
            <a:fillRect/>
          </a:stretch>
        </p:blipFill>
        <p:spPr>
          <a:xfrm>
            <a:off x="6138861" y="1371600"/>
            <a:ext cx="2628900" cy="26280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97E81837-DD37-4056-B275-490D20AA579F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tent</a:t>
            </a:r>
            <a:r>
              <a:rPr lang="hu-HU" dirty="0"/>
              <a:t> </a:t>
            </a:r>
            <a:r>
              <a:rPr lang="hu-HU" dirty="0" err="1"/>
              <a:t>small</a:t>
            </a:r>
            <a:r>
              <a:rPr lang="hu-HU" dirty="0"/>
              <a:t> image</a:t>
            </a:r>
            <a:endParaRPr lang="en-GB" dirty="0"/>
          </a:p>
        </p:txBody>
      </p:sp>
      <p:sp>
        <p:nvSpPr>
          <p:cNvPr id="18" name="Fußzeilenplatzhalter 6">
            <a:extLst>
              <a:ext uri="{FF2B5EF4-FFF2-40B4-BE49-F238E27FC236}">
                <a16:creationId xmlns:a16="http://schemas.microsoft.com/office/drawing/2014/main" id="{1955EDD2-4C2A-4986-B7F4-83E6F24D1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0" name="Dátum helye 2">
            <a:extLst>
              <a:ext uri="{FF2B5EF4-FFF2-40B4-BE49-F238E27FC236}">
                <a16:creationId xmlns:a16="http://schemas.microsoft.com/office/drawing/2014/main" id="{EC80644F-D51F-4223-A7BB-FC8E061868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83BA0419-7B39-4DC4-A029-030F0AC0F21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2" name="Dia számának helye 4">
            <a:extLst>
              <a:ext uri="{FF2B5EF4-FFF2-40B4-BE49-F238E27FC236}">
                <a16:creationId xmlns:a16="http://schemas.microsoft.com/office/drawing/2014/main" id="{28FAC4AD-60EC-47B5-873A-B96F5F006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69231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platzhalter 7">
            <a:extLst>
              <a:ext uri="{FF2B5EF4-FFF2-40B4-BE49-F238E27FC236}">
                <a16:creationId xmlns:a16="http://schemas.microsoft.com/office/drawing/2014/main" id="{5F150F81-E425-41CB-9CF3-E84B71FD05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93" b="18993"/>
          <a:stretch/>
        </p:blipFill>
        <p:spPr>
          <a:xfrm>
            <a:off x="-1" y="1371599"/>
            <a:ext cx="9144001" cy="3776663"/>
          </a:xfrm>
          <a:prstGeom prst="rect">
            <a:avLst/>
          </a:prstGeom>
        </p:spPr>
      </p:pic>
      <p:sp>
        <p:nvSpPr>
          <p:cNvPr id="5" name="Bildplatzhalter 4"/>
          <p:cNvSpPr>
            <a:spLocks noGrp="1"/>
          </p:cNvSpPr>
          <p:nvPr>
            <p:ph type="pic" sz="quarter" idx="13"/>
          </p:nvPr>
        </p:nvSpPr>
        <p:spPr>
          <a:xfrm>
            <a:off x="-1" y="1370331"/>
            <a:ext cx="9144001" cy="3773169"/>
          </a:xfrm>
        </p:spPr>
        <p:txBody>
          <a:bodyPr/>
          <a:lstStyle/>
          <a:p>
            <a:r>
              <a:rPr lang="hu-HU" noProof="0" dirty="0"/>
              <a:t>Kép beszúrásához kattintson az ikonra</a:t>
            </a:r>
            <a:endParaRPr lang="en-GB" noProof="0" dirty="0"/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38862" y="4439035"/>
            <a:ext cx="2628901" cy="359667"/>
          </a:xfrm>
        </p:spPr>
        <p:txBody>
          <a:bodyPr anchor="b"/>
          <a:lstStyle>
            <a:lvl1pPr>
              <a:lnSpc>
                <a:spcPts val="1124"/>
              </a:lnSpc>
              <a:defRPr sz="899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Image title, 9 </a:t>
            </a:r>
            <a:r>
              <a:rPr lang="en-GB" noProof="0" dirty="0" err="1"/>
              <a:t>pt</a:t>
            </a:r>
            <a:r>
              <a:rPr lang="en-GB" noProof="0" dirty="0"/>
              <a:t>, Brix Sans Regular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7BBB6E39-E86B-4BD2-8B9B-7774048553C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70331"/>
            <a:ext cx="9144001" cy="37731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hu-HU" noProof="0"/>
              <a:t>Kép beszúrásához kattintson az ikonra</a:t>
            </a:r>
            <a:endParaRPr lang="en-GB" noProof="0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07D6306C-36DA-40DD-8D92-8D7F5CD5A0EA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tent</a:t>
            </a:r>
            <a:r>
              <a:rPr lang="hu-HU" dirty="0"/>
              <a:t> </a:t>
            </a:r>
            <a:r>
              <a:rPr lang="hu-HU" dirty="0" err="1"/>
              <a:t>large</a:t>
            </a:r>
            <a:r>
              <a:rPr lang="hu-HU" dirty="0"/>
              <a:t> image</a:t>
            </a:r>
            <a:endParaRPr lang="en-GB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76C25B26-58D4-4D51-95DF-D4A2EFAAC6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1" name="Dátum helye 2">
            <a:extLst>
              <a:ext uri="{FF2B5EF4-FFF2-40B4-BE49-F238E27FC236}">
                <a16:creationId xmlns:a16="http://schemas.microsoft.com/office/drawing/2014/main" id="{8E063606-8191-4991-A52F-E5036AC54C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EC5E349-EA67-4EBE-9687-006AC6F313E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2" name="Dia számának helye 4">
            <a:extLst>
              <a:ext uri="{FF2B5EF4-FFF2-40B4-BE49-F238E27FC236}">
                <a16:creationId xmlns:a16="http://schemas.microsoft.com/office/drawing/2014/main" id="{27903A84-9F98-498F-94C4-D7458BD8C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73168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00" y="-1"/>
            <a:ext cx="6058455" cy="51444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9200" y="1573200"/>
            <a:ext cx="52956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79200" y="2901600"/>
            <a:ext cx="52956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45600" y="522000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BF2FC887-E720-4039-A5E1-3DF271A54B13}" type="datetime1">
              <a:rPr lang="hu-HU" smtClean="0"/>
              <a:t>2022. 05. 02.</a:t>
            </a:fld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52800" y="0"/>
              <a:ext cx="22680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" name="EON_Logo_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08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3199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8F9E6102-AAE2-4106-BF26-F55A97B8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0ADD919-54A3-4C28-8B96-3E1EF3ED6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</p:spPr>
        <p:txBody>
          <a:bodyPr/>
          <a:lstStyle/>
          <a:p>
            <a:r>
              <a:rPr lang="de-DE" dirty="0"/>
              <a:t>Table </a:t>
            </a:r>
            <a:r>
              <a:rPr lang="de-DE" dirty="0" err="1"/>
              <a:t>chart</a:t>
            </a:r>
            <a:endParaRPr lang="de-DE" dirty="0"/>
          </a:p>
        </p:txBody>
      </p:sp>
      <p:graphicFrame>
        <p:nvGraphicFramePr>
          <p:cNvPr id="9" name="Inhaltsplatzhalter 6">
            <a:extLst>
              <a:ext uri="{FF2B5EF4-FFF2-40B4-BE49-F238E27FC236}">
                <a16:creationId xmlns:a16="http://schemas.microsoft.com/office/drawing/2014/main" id="{131B9852-3004-47ED-AB55-5649EA71D13F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93190459"/>
              </p:ext>
            </p:extLst>
          </p:nvPr>
        </p:nvGraphicFramePr>
        <p:xfrm>
          <a:off x="377825" y="1371600"/>
          <a:ext cx="5508000" cy="336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9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5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56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56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80800">
                <a:tc>
                  <a:txBody>
                    <a:bodyPr/>
                    <a:lstStyle/>
                    <a:p>
                      <a:r>
                        <a:rPr lang="fr-FR" sz="900" dirty="0">
                          <a:latin typeface="+mj-lt"/>
                        </a:rPr>
                        <a:t>9 pt, </a:t>
                      </a:r>
                      <a:r>
                        <a:rPr lang="fr-FR" sz="900" dirty="0" err="1">
                          <a:latin typeface="+mj-lt"/>
                        </a:rPr>
                        <a:t>Brix</a:t>
                      </a:r>
                      <a:r>
                        <a:rPr lang="fr-FR" sz="900" dirty="0">
                          <a:latin typeface="+mj-lt"/>
                        </a:rPr>
                        <a:t> Sans Black</a:t>
                      </a:r>
                    </a:p>
                  </a:txBody>
                  <a:tcPr marL="0" marR="0" marT="46800" marB="46800" anchor="ctr">
                    <a:lnR>
                      <a:noFill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latin typeface="+mj-lt"/>
                      </a:endParaRP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 dirty="0">
                          <a:latin typeface="+mj-lt"/>
                        </a:rPr>
                        <a:t>1997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latin typeface="+mj-lt"/>
                      </a:endParaRP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 dirty="0">
                          <a:latin typeface="+mj-lt"/>
                        </a:rPr>
                        <a:t>2007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latin typeface="+mj-lt"/>
                      </a:endParaRP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 dirty="0">
                          <a:latin typeface="+mj-lt"/>
                        </a:rPr>
                        <a:t>200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latin typeface="+mj-lt"/>
                      </a:endParaRP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 dirty="0">
                          <a:latin typeface="+mj-lt"/>
                        </a:rPr>
                        <a:t>201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latin typeface="+mj-lt"/>
                      </a:endParaRP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 dirty="0">
                          <a:latin typeface="+mj-lt"/>
                        </a:rPr>
                        <a:t>2017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B w="19050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fr-FR" sz="900" dirty="0"/>
                        <a:t>9 pt, </a:t>
                      </a:r>
                      <a:r>
                        <a:rPr lang="fr-FR" sz="900" dirty="0" err="1"/>
                        <a:t>Brix</a:t>
                      </a:r>
                      <a:r>
                        <a:rPr lang="fr-FR" sz="900" dirty="0"/>
                        <a:t> Sans Regular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26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26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26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26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26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19050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/>
                        <a:t>Si </a:t>
                      </a:r>
                      <a:r>
                        <a:rPr lang="de-DE" sz="900" dirty="0" err="1"/>
                        <a:t>nctaqui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corrum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/>
                        <a:t>Ed </a:t>
                      </a:r>
                      <a:r>
                        <a:rPr lang="de-DE" sz="900" dirty="0" err="1"/>
                        <a:t>eos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audignate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minusciata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es-ES" sz="900" dirty="0"/>
                        <a:t>Pero eos apidem quos del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/>
                        <a:t>Si </a:t>
                      </a:r>
                      <a:r>
                        <a:rPr lang="de-DE" sz="900" dirty="0" err="1"/>
                        <a:t>nctaqui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corrum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/>
                        <a:t>Ed </a:t>
                      </a:r>
                      <a:r>
                        <a:rPr lang="de-DE" sz="900" dirty="0" err="1"/>
                        <a:t>eos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audignate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minusciata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6,9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es-ES" sz="900" dirty="0"/>
                        <a:t>Pero eos apidem quos del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9,2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Si </a:t>
                      </a:r>
                      <a:r>
                        <a:rPr lang="fr-FR" sz="900" dirty="0" err="1">
                          <a:solidFill>
                            <a:schemeClr val="tx1"/>
                          </a:solidFill>
                        </a:rPr>
                        <a:t>nctaqui</a:t>
                      </a:r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900" dirty="0" err="1">
                          <a:solidFill>
                            <a:schemeClr val="tx1"/>
                          </a:solidFill>
                        </a:rPr>
                        <a:t>corrum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32,8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 err="1"/>
                        <a:t>Remquos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reptatem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reperiae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1,5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1,5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1,5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1,5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1,5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 err="1"/>
                        <a:t>Qui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voluptatur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assimolorita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r>
                        <a:rPr lang="de-DE" sz="900" dirty="0"/>
                        <a:t>Im </a:t>
                      </a:r>
                      <a:r>
                        <a:rPr lang="de-DE" sz="900" dirty="0" err="1"/>
                        <a:t>facil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eost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magnatiostia</a:t>
                      </a:r>
                      <a:r>
                        <a:rPr lang="de-DE" sz="900" dirty="0"/>
                        <a:t> </a:t>
                      </a:r>
                      <a:r>
                        <a:rPr lang="de-DE" sz="900" dirty="0" err="1"/>
                        <a:t>dolore</a:t>
                      </a:r>
                      <a:endParaRPr lang="de-DE" sz="900" dirty="0"/>
                    </a:p>
                  </a:txBody>
                  <a:tcPr marL="0" marR="0" marT="46800" marB="46800" anchor="ctr"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0" marR="0" marT="46800" marB="468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900" dirty="0">
                          <a:solidFill>
                            <a:schemeClr val="tx1"/>
                          </a:solidFill>
                        </a:rPr>
                        <a:t>40,3</a:t>
                      </a:r>
                    </a:p>
                  </a:txBody>
                  <a:tcPr marL="0" marR="0" marT="46800" marB="46800" anchor="ctr">
                    <a:lnL>
                      <a:noFill/>
                    </a:lnL>
                    <a:lnT w="9525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A1C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D241A251-6D40-46D6-8C50-9C9ECA7257A6}"/>
              </a:ext>
            </a:extLst>
          </p:cNvPr>
          <p:cNvSpPr>
            <a:spLocks noGrp="1"/>
          </p:cNvSpPr>
          <p:nvPr>
            <p:ph sz="quarter" idx="2" hasCustomPrompt="1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lum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epar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empty</a:t>
            </a:r>
            <a:r>
              <a:rPr lang="de-DE" dirty="0"/>
              <a:t> </a:t>
            </a:r>
            <a:r>
              <a:rPr lang="de-DE" dirty="0" err="1"/>
              <a:t>dividing</a:t>
            </a:r>
            <a:r>
              <a:rPr lang="de-DE" dirty="0"/>
              <a:t> </a:t>
            </a:r>
            <a:r>
              <a:rPr lang="de-DE" dirty="0" err="1"/>
              <a:t>column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borde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a </a:t>
            </a:r>
            <a:r>
              <a:rPr lang="de-DE" dirty="0" err="1"/>
              <a:t>widt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0.2 cm.</a:t>
            </a:r>
          </a:p>
          <a:p>
            <a:r>
              <a:rPr lang="de-DE" dirty="0" err="1"/>
              <a:t>Icia</a:t>
            </a:r>
            <a:r>
              <a:rPr lang="de-DE" dirty="0"/>
              <a:t> </a:t>
            </a:r>
            <a:r>
              <a:rPr lang="de-DE" dirty="0" err="1"/>
              <a:t>pe</a:t>
            </a:r>
            <a:r>
              <a:rPr lang="de-DE" dirty="0"/>
              <a:t> es </a:t>
            </a:r>
            <a:r>
              <a:rPr lang="de-DE" dirty="0" err="1"/>
              <a:t>eum</a:t>
            </a:r>
            <a:r>
              <a:rPr lang="de-DE" dirty="0"/>
              <a:t> in </a:t>
            </a:r>
            <a:r>
              <a:rPr lang="de-DE" dirty="0" err="1"/>
              <a:t>reium</a:t>
            </a:r>
            <a:r>
              <a:rPr lang="de-DE" dirty="0"/>
              <a:t> </a:t>
            </a:r>
            <a:r>
              <a:rPr lang="de-DE" dirty="0" err="1"/>
              <a:t>dentem</a:t>
            </a:r>
            <a:r>
              <a:rPr lang="de-DE" dirty="0"/>
              <a:t> </a:t>
            </a:r>
            <a:r>
              <a:rPr lang="de-DE" dirty="0" err="1"/>
              <a:t>verum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eatus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mai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volupta</a:t>
            </a:r>
            <a:r>
              <a:rPr lang="de-DE" dirty="0"/>
              <a:t> </a:t>
            </a:r>
            <a:r>
              <a:rPr lang="de-DE" dirty="0" err="1"/>
              <a:t>tionsequos</a:t>
            </a:r>
            <a:r>
              <a:rPr lang="de-DE" dirty="0"/>
              <a:t> </a:t>
            </a:r>
            <a:r>
              <a:rPr lang="de-DE" dirty="0" err="1"/>
              <a:t>digeniendis</a:t>
            </a:r>
            <a:r>
              <a:rPr lang="de-DE" dirty="0"/>
              <a:t> </a:t>
            </a:r>
            <a:r>
              <a:rPr lang="de-DE" dirty="0" err="1"/>
              <a:t>rem</a:t>
            </a:r>
            <a:endParaRPr lang="de-DE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397E5FC8-1C4D-4915-B986-E0AC63AABCBB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38000" y="4060800"/>
            <a:ext cx="2628000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Dátum helye 2">
            <a:extLst>
              <a:ext uri="{FF2B5EF4-FFF2-40B4-BE49-F238E27FC236}">
                <a16:creationId xmlns:a16="http://schemas.microsoft.com/office/drawing/2014/main" id="{725308DC-0283-4430-A1D2-7F51E0E514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9400BB92-0C3A-48C6-85AF-50960794F5D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6" name="Dia számának helye 4">
            <a:extLst>
              <a:ext uri="{FF2B5EF4-FFF2-40B4-BE49-F238E27FC236}">
                <a16:creationId xmlns:a16="http://schemas.microsoft.com/office/drawing/2014/main" id="{8D6D440A-84FD-46E6-9B84-063FAA929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4626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8F9E6102-AAE2-4106-BF26-F55A97B8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48AA58F0-054B-4460-9BEA-DA5E9AE0C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</p:spPr>
        <p:txBody>
          <a:bodyPr/>
          <a:lstStyle/>
          <a:p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9" name="Richtungspfeil 10">
            <a:extLst>
              <a:ext uri="{FF2B5EF4-FFF2-40B4-BE49-F238E27FC236}">
                <a16:creationId xmlns:a16="http://schemas.microsoft.com/office/drawing/2014/main" id="{5A856FCE-D163-4577-BBB1-FD8F2F0C531E}"/>
              </a:ext>
            </a:extLst>
          </p:cNvPr>
          <p:cNvSpPr/>
          <p:nvPr userDrawn="1"/>
        </p:nvSpPr>
        <p:spPr>
          <a:xfrm>
            <a:off x="5380017" y="2196263"/>
            <a:ext cx="2544784" cy="2952000"/>
          </a:xfrm>
          <a:prstGeom prst="homePlate">
            <a:avLst>
              <a:gd name="adj" fmla="val 2386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00" tIns="180000" rIns="180000" bIns="378000" rtlCol="0" anchor="t" anchorCtr="0"/>
          <a:lstStyle/>
          <a:p>
            <a:r>
              <a:rPr lang="fr-FR" sz="1600" dirty="0">
                <a:latin typeface="+mj-lt"/>
              </a:rPr>
              <a:t>4  </a:t>
            </a:r>
            <a:r>
              <a:rPr lang="fr-FR" sz="1600" dirty="0" err="1">
                <a:latin typeface="+mj-lt"/>
              </a:rPr>
              <a:t>Step</a:t>
            </a:r>
            <a:r>
              <a:rPr lang="fr-FR" sz="1600" dirty="0">
                <a:latin typeface="+mj-lt"/>
              </a:rPr>
              <a:t> four</a:t>
            </a:r>
          </a:p>
          <a:p>
            <a:endParaRPr lang="fr-FR" sz="1100" dirty="0">
              <a:latin typeface="+mj-lt"/>
            </a:endParaRPr>
          </a:p>
          <a:p>
            <a:r>
              <a:rPr lang="fr-FR" sz="1100" dirty="0">
                <a:latin typeface="+mj-lt"/>
              </a:rPr>
              <a:t>Headline</a:t>
            </a:r>
          </a:p>
          <a:p>
            <a:r>
              <a:rPr lang="fr-FR" sz="1100" dirty="0"/>
              <a:t>Copy </a:t>
            </a:r>
            <a:r>
              <a:rPr lang="fr-FR" sz="1100" dirty="0" err="1"/>
              <a:t>text</a:t>
            </a:r>
            <a:r>
              <a:rPr lang="fr-FR" sz="1100" dirty="0"/>
              <a:t> </a:t>
            </a:r>
            <a:r>
              <a:rPr lang="fr-FR" sz="1100" dirty="0" err="1"/>
              <a:t>namus</a:t>
            </a:r>
            <a:r>
              <a:rPr lang="fr-FR" sz="1100" dirty="0"/>
              <a:t> </a:t>
            </a:r>
            <a:br>
              <a:rPr lang="fr-FR" sz="1100" dirty="0"/>
            </a:br>
            <a:r>
              <a:rPr lang="fr-FR" sz="1100" dirty="0"/>
              <a:t>si </a:t>
            </a:r>
            <a:r>
              <a:rPr lang="fr-FR" sz="1100" dirty="0" err="1"/>
              <a:t>doluptaque</a:t>
            </a:r>
            <a:r>
              <a:rPr lang="fr-FR" sz="1100" dirty="0"/>
              <a:t> </a:t>
            </a:r>
            <a:r>
              <a:rPr lang="fr-FR" sz="1100" dirty="0" err="1"/>
              <a:t>volores</a:t>
            </a:r>
            <a:r>
              <a:rPr lang="fr-FR" sz="1100" dirty="0"/>
              <a:t> mos </a:t>
            </a:r>
            <a:r>
              <a:rPr lang="fr-FR" sz="1100" dirty="0" err="1"/>
              <a:t>Optiorro</a:t>
            </a:r>
            <a:r>
              <a:rPr lang="fr-FR" sz="1100" dirty="0"/>
              <a:t> te </a:t>
            </a:r>
            <a:r>
              <a:rPr lang="fr-FR" sz="1100" dirty="0" err="1"/>
              <a:t>soluptur</a:t>
            </a:r>
            <a:r>
              <a:rPr lang="fr-FR" sz="1100" dirty="0"/>
              <a:t> </a:t>
            </a:r>
            <a:r>
              <a:rPr lang="fr-FR" sz="1100" dirty="0" err="1"/>
              <a:t>am</a:t>
            </a:r>
            <a:r>
              <a:rPr lang="fr-FR" sz="1100" dirty="0"/>
              <a:t> </a:t>
            </a:r>
            <a:r>
              <a:rPr lang="fr-FR" sz="1100" dirty="0" err="1"/>
              <a:t>susantium</a:t>
            </a:r>
            <a:r>
              <a:rPr lang="fr-FR" sz="1100" dirty="0"/>
              <a:t> </a:t>
            </a:r>
            <a:r>
              <a:rPr lang="fr-FR" sz="1100" dirty="0" err="1"/>
              <a:t>cuscien</a:t>
            </a:r>
            <a:r>
              <a:rPr lang="fr-FR" sz="1100" dirty="0"/>
              <a:t> </a:t>
            </a:r>
            <a:r>
              <a:rPr lang="fr-FR" sz="1100" dirty="0" err="1"/>
              <a:t>totaqui</a:t>
            </a:r>
            <a:r>
              <a:rPr lang="fr-FR" sz="1100" dirty="0"/>
              <a:t> </a:t>
            </a:r>
            <a:r>
              <a:rPr lang="fr-FR" sz="1100" dirty="0" err="1"/>
              <a:t>nonsequ</a:t>
            </a:r>
            <a:r>
              <a:rPr lang="fr-FR" sz="1100" dirty="0"/>
              <a:t> </a:t>
            </a:r>
            <a:r>
              <a:rPr lang="fr-FR" sz="1100" dirty="0" err="1"/>
              <a:t>undaest</a:t>
            </a:r>
            <a:r>
              <a:rPr lang="fr-FR" sz="1100" dirty="0"/>
              <a:t> </a:t>
            </a:r>
            <a:r>
              <a:rPr lang="fr-FR" sz="1100" dirty="0" err="1"/>
              <a:t>oreplaut</a:t>
            </a:r>
            <a:r>
              <a:rPr lang="fr-FR" sz="1100" dirty="0"/>
              <a:t> </a:t>
            </a:r>
            <a:r>
              <a:rPr lang="fr-FR" sz="1100" dirty="0" err="1"/>
              <a:t>dolorero</a:t>
            </a:r>
            <a:r>
              <a:rPr lang="fr-FR" sz="1100" dirty="0"/>
              <a:t> mo </a:t>
            </a:r>
            <a:r>
              <a:rPr lang="fr-FR" sz="1100" dirty="0" err="1"/>
              <a:t>quossitibus</a:t>
            </a:r>
            <a:r>
              <a:rPr lang="fr-FR" sz="1100" dirty="0"/>
              <a:t> </a:t>
            </a:r>
            <a:r>
              <a:rPr lang="fr-FR" sz="1100" dirty="0" err="1"/>
              <a:t>plit</a:t>
            </a:r>
            <a:r>
              <a:rPr lang="fr-FR" sz="1100" dirty="0"/>
              <a:t> </a:t>
            </a:r>
            <a:r>
              <a:rPr lang="fr-FR" sz="1100" dirty="0" err="1"/>
              <a:t>pa</a:t>
            </a:r>
            <a:r>
              <a:rPr lang="fr-FR" sz="1100" dirty="0"/>
              <a:t> </a:t>
            </a:r>
            <a:r>
              <a:rPr lang="fr-FR" sz="1100" dirty="0" err="1"/>
              <a:t>volenim</a:t>
            </a:r>
            <a:r>
              <a:rPr lang="fr-FR" sz="1100" dirty="0"/>
              <a:t> qui </a:t>
            </a:r>
            <a:r>
              <a:rPr lang="fr-FR" sz="1100" dirty="0" err="1"/>
              <a:t>volupti</a:t>
            </a:r>
            <a:r>
              <a:rPr lang="fr-FR" sz="1100" dirty="0"/>
              <a:t> </a:t>
            </a:r>
            <a:r>
              <a:rPr lang="fr-FR" sz="1100" dirty="0" err="1"/>
              <a:t>nitia</a:t>
            </a:r>
            <a:r>
              <a:rPr lang="fr-FR" sz="1100" dirty="0"/>
              <a:t> </a:t>
            </a:r>
            <a:r>
              <a:rPr lang="fr-FR" sz="1100" dirty="0" err="1"/>
              <a:t>diae</a:t>
            </a:r>
            <a:r>
              <a:rPr lang="fr-FR" sz="1100" dirty="0"/>
              <a:t> </a:t>
            </a:r>
            <a:r>
              <a:rPr lang="fr-FR" sz="1100" dirty="0" err="1"/>
              <a:t>nimillo</a:t>
            </a:r>
            <a:endParaRPr lang="fr-FR" sz="1100" dirty="0"/>
          </a:p>
          <a:p>
            <a:endParaRPr lang="fr-FR" sz="1100" dirty="0"/>
          </a:p>
        </p:txBody>
      </p:sp>
      <p:sp>
        <p:nvSpPr>
          <p:cNvPr id="10" name="Richtungspfeil 11">
            <a:extLst>
              <a:ext uri="{FF2B5EF4-FFF2-40B4-BE49-F238E27FC236}">
                <a16:creationId xmlns:a16="http://schemas.microsoft.com/office/drawing/2014/main" id="{833790D4-3656-4299-B9DD-7E4C03DBA950}"/>
              </a:ext>
            </a:extLst>
          </p:cNvPr>
          <p:cNvSpPr/>
          <p:nvPr userDrawn="1"/>
        </p:nvSpPr>
        <p:spPr>
          <a:xfrm>
            <a:off x="3446271" y="2196263"/>
            <a:ext cx="2544784" cy="2952000"/>
          </a:xfrm>
          <a:prstGeom prst="homePlate">
            <a:avLst>
              <a:gd name="adj" fmla="val 2386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00" tIns="180000" rIns="144000" bIns="378000" rtlCol="0" anchor="t" anchorCtr="0"/>
          <a:lstStyle/>
          <a:p>
            <a:r>
              <a:rPr lang="fr-FR" sz="1600" dirty="0">
                <a:latin typeface="+mj-lt"/>
              </a:rPr>
              <a:t>3  </a:t>
            </a:r>
            <a:r>
              <a:rPr lang="fr-FR" sz="1600" dirty="0" err="1">
                <a:latin typeface="+mj-lt"/>
              </a:rPr>
              <a:t>Step</a:t>
            </a:r>
            <a:r>
              <a:rPr lang="fr-FR" sz="1600" dirty="0">
                <a:latin typeface="+mj-lt"/>
              </a:rPr>
              <a:t> </a:t>
            </a:r>
            <a:r>
              <a:rPr lang="fr-FR" sz="1600" dirty="0" err="1">
                <a:latin typeface="+mj-lt"/>
              </a:rPr>
              <a:t>three</a:t>
            </a:r>
            <a:endParaRPr lang="fr-FR" sz="1600" dirty="0">
              <a:latin typeface="+mj-lt"/>
            </a:endParaRPr>
          </a:p>
          <a:p>
            <a:endParaRPr lang="fr-FR" sz="1100" dirty="0">
              <a:latin typeface="+mj-lt"/>
            </a:endParaRPr>
          </a:p>
          <a:p>
            <a:r>
              <a:rPr lang="fr-FR" sz="1100" dirty="0">
                <a:latin typeface="+mj-lt"/>
              </a:rPr>
              <a:t>Headline</a:t>
            </a:r>
          </a:p>
          <a:p>
            <a:r>
              <a:rPr lang="fr-FR" sz="1100" dirty="0"/>
              <a:t>Copy </a:t>
            </a:r>
            <a:r>
              <a:rPr lang="fr-FR" sz="1100" dirty="0" err="1"/>
              <a:t>text</a:t>
            </a:r>
            <a:r>
              <a:rPr lang="fr-FR" sz="1100" dirty="0"/>
              <a:t> </a:t>
            </a:r>
            <a:r>
              <a:rPr lang="fr-FR" sz="1100" dirty="0" err="1"/>
              <a:t>namus</a:t>
            </a:r>
            <a:r>
              <a:rPr lang="fr-FR" sz="1100" dirty="0"/>
              <a:t> </a:t>
            </a:r>
            <a:br>
              <a:rPr lang="fr-FR" sz="1100" dirty="0"/>
            </a:br>
            <a:r>
              <a:rPr lang="fr-FR" sz="1100" dirty="0"/>
              <a:t>si </a:t>
            </a:r>
            <a:r>
              <a:rPr lang="fr-FR" sz="1100" dirty="0" err="1"/>
              <a:t>doluptaque</a:t>
            </a:r>
            <a:r>
              <a:rPr lang="fr-FR" sz="1100" dirty="0"/>
              <a:t> </a:t>
            </a:r>
            <a:r>
              <a:rPr lang="fr-FR" sz="1100" dirty="0" err="1"/>
              <a:t>volores</a:t>
            </a:r>
            <a:r>
              <a:rPr lang="fr-FR" sz="1100" dirty="0"/>
              <a:t> mos </a:t>
            </a:r>
            <a:r>
              <a:rPr lang="fr-FR" sz="1100" dirty="0" err="1"/>
              <a:t>Optiorro</a:t>
            </a:r>
            <a:r>
              <a:rPr lang="fr-FR" sz="1100" dirty="0"/>
              <a:t> te </a:t>
            </a:r>
            <a:r>
              <a:rPr lang="fr-FR" sz="1100" dirty="0" err="1"/>
              <a:t>soluptur</a:t>
            </a:r>
            <a:r>
              <a:rPr lang="fr-FR" sz="1100" dirty="0"/>
              <a:t> </a:t>
            </a:r>
            <a:r>
              <a:rPr lang="fr-FR" sz="1100" dirty="0" err="1"/>
              <a:t>am</a:t>
            </a:r>
            <a:r>
              <a:rPr lang="fr-FR" sz="1100" dirty="0"/>
              <a:t> </a:t>
            </a:r>
            <a:r>
              <a:rPr lang="fr-FR" sz="1100" dirty="0" err="1"/>
              <a:t>susantium</a:t>
            </a:r>
            <a:r>
              <a:rPr lang="fr-FR" sz="1100" dirty="0"/>
              <a:t> </a:t>
            </a:r>
            <a:r>
              <a:rPr lang="fr-FR" sz="1100" dirty="0" err="1"/>
              <a:t>cuscien</a:t>
            </a:r>
            <a:r>
              <a:rPr lang="fr-FR" sz="1100" dirty="0"/>
              <a:t> </a:t>
            </a:r>
            <a:r>
              <a:rPr lang="fr-FR" sz="1100" dirty="0" err="1"/>
              <a:t>totaqui</a:t>
            </a:r>
            <a:r>
              <a:rPr lang="fr-FR" sz="1100" dirty="0"/>
              <a:t> </a:t>
            </a:r>
            <a:r>
              <a:rPr lang="fr-FR" sz="1100" dirty="0" err="1"/>
              <a:t>nonsequ</a:t>
            </a:r>
            <a:r>
              <a:rPr lang="fr-FR" sz="1100" dirty="0"/>
              <a:t> </a:t>
            </a:r>
            <a:r>
              <a:rPr lang="fr-FR" sz="1100" dirty="0" err="1"/>
              <a:t>undaest</a:t>
            </a:r>
            <a:r>
              <a:rPr lang="fr-FR" sz="1100" dirty="0"/>
              <a:t> </a:t>
            </a:r>
            <a:r>
              <a:rPr lang="fr-FR" sz="1100" dirty="0" err="1"/>
              <a:t>oreplaut</a:t>
            </a:r>
            <a:r>
              <a:rPr lang="fr-FR" sz="1100" dirty="0"/>
              <a:t> </a:t>
            </a:r>
            <a:r>
              <a:rPr lang="fr-FR" sz="1100" dirty="0" err="1"/>
              <a:t>dolorero</a:t>
            </a:r>
            <a:r>
              <a:rPr lang="fr-FR" sz="1100" dirty="0"/>
              <a:t> mo </a:t>
            </a:r>
            <a:r>
              <a:rPr lang="fr-FR" sz="1100" dirty="0" err="1"/>
              <a:t>quossitibus</a:t>
            </a:r>
            <a:r>
              <a:rPr lang="fr-FR" sz="1100" dirty="0"/>
              <a:t> </a:t>
            </a:r>
            <a:r>
              <a:rPr lang="fr-FR" sz="1100" dirty="0" err="1"/>
              <a:t>plit</a:t>
            </a:r>
            <a:r>
              <a:rPr lang="fr-FR" sz="1100" dirty="0"/>
              <a:t> </a:t>
            </a:r>
            <a:r>
              <a:rPr lang="fr-FR" sz="1100" dirty="0" err="1"/>
              <a:t>pa</a:t>
            </a:r>
            <a:r>
              <a:rPr lang="fr-FR" sz="1100" dirty="0"/>
              <a:t> </a:t>
            </a:r>
            <a:r>
              <a:rPr lang="fr-FR" sz="1100" dirty="0" err="1"/>
              <a:t>volenim</a:t>
            </a:r>
            <a:r>
              <a:rPr lang="fr-FR" sz="1100" dirty="0"/>
              <a:t> qui </a:t>
            </a:r>
            <a:r>
              <a:rPr lang="fr-FR" sz="1100" dirty="0" err="1"/>
              <a:t>volupti</a:t>
            </a:r>
            <a:r>
              <a:rPr lang="fr-FR" sz="1100" dirty="0"/>
              <a:t> </a:t>
            </a:r>
            <a:r>
              <a:rPr lang="fr-FR" sz="1100" dirty="0" err="1"/>
              <a:t>nitia</a:t>
            </a:r>
            <a:r>
              <a:rPr lang="fr-FR" sz="1100" dirty="0"/>
              <a:t> </a:t>
            </a:r>
            <a:r>
              <a:rPr lang="fr-FR" sz="1100" dirty="0" err="1"/>
              <a:t>diae</a:t>
            </a:r>
            <a:r>
              <a:rPr lang="fr-FR" sz="1100" dirty="0"/>
              <a:t> </a:t>
            </a:r>
            <a:r>
              <a:rPr lang="fr-FR" sz="1100" dirty="0" err="1"/>
              <a:t>nimillo</a:t>
            </a:r>
            <a:endParaRPr lang="fr-FR" sz="1100" dirty="0"/>
          </a:p>
          <a:p>
            <a:endParaRPr lang="fr-FR" sz="1100" dirty="0"/>
          </a:p>
        </p:txBody>
      </p:sp>
      <p:sp>
        <p:nvSpPr>
          <p:cNvPr id="15" name="Richtungspfeil 12">
            <a:extLst>
              <a:ext uri="{FF2B5EF4-FFF2-40B4-BE49-F238E27FC236}">
                <a16:creationId xmlns:a16="http://schemas.microsoft.com/office/drawing/2014/main" id="{A5346461-5F39-4141-9803-ED1BFB7442BD}"/>
              </a:ext>
            </a:extLst>
          </p:cNvPr>
          <p:cNvSpPr/>
          <p:nvPr userDrawn="1"/>
        </p:nvSpPr>
        <p:spPr>
          <a:xfrm>
            <a:off x="1506201" y="2196263"/>
            <a:ext cx="2544784" cy="2952000"/>
          </a:xfrm>
          <a:prstGeom prst="homePlate">
            <a:avLst>
              <a:gd name="adj" fmla="val 2386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00" tIns="180000" rIns="144000" bIns="378000" rtlCol="0" anchor="t" anchorCtr="0"/>
          <a:lstStyle/>
          <a:p>
            <a:r>
              <a:rPr lang="fr-FR" sz="1600" dirty="0">
                <a:solidFill>
                  <a:schemeClr val="bg1"/>
                </a:solidFill>
                <a:latin typeface="+mj-lt"/>
              </a:rPr>
              <a:t>2  </a:t>
            </a:r>
            <a:r>
              <a:rPr lang="fr-FR" sz="1600" dirty="0" err="1">
                <a:solidFill>
                  <a:schemeClr val="bg1"/>
                </a:solidFill>
                <a:latin typeface="+mj-lt"/>
              </a:rPr>
              <a:t>Step</a:t>
            </a:r>
            <a:r>
              <a:rPr lang="fr-FR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fr-FR" sz="1600" dirty="0" err="1">
                <a:solidFill>
                  <a:schemeClr val="bg1"/>
                </a:solidFill>
                <a:latin typeface="+mj-lt"/>
              </a:rPr>
              <a:t>two</a:t>
            </a:r>
            <a:endParaRPr lang="fr-FR" sz="1600" dirty="0">
              <a:solidFill>
                <a:schemeClr val="bg1"/>
              </a:solidFill>
              <a:latin typeface="+mj-lt"/>
            </a:endParaRPr>
          </a:p>
          <a:p>
            <a:endParaRPr lang="fr-FR" sz="1100" dirty="0">
              <a:solidFill>
                <a:schemeClr val="bg1"/>
              </a:solidFill>
            </a:endParaRPr>
          </a:p>
          <a:p>
            <a:r>
              <a:rPr lang="fr-FR" sz="1100" dirty="0">
                <a:solidFill>
                  <a:schemeClr val="bg1"/>
                </a:solidFill>
                <a:latin typeface="+mj-lt"/>
              </a:rPr>
              <a:t>Headline</a:t>
            </a:r>
          </a:p>
          <a:p>
            <a:r>
              <a:rPr lang="fr-FR" sz="1100" dirty="0">
                <a:solidFill>
                  <a:schemeClr val="bg1"/>
                </a:solidFill>
              </a:rPr>
              <a:t>Copy </a:t>
            </a:r>
            <a:r>
              <a:rPr lang="fr-FR" sz="1100" dirty="0" err="1">
                <a:solidFill>
                  <a:schemeClr val="bg1"/>
                </a:solidFill>
              </a:rPr>
              <a:t>text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namus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br>
              <a:rPr lang="fr-FR" sz="1100" dirty="0">
                <a:solidFill>
                  <a:schemeClr val="bg1"/>
                </a:solidFill>
              </a:rPr>
            </a:br>
            <a:r>
              <a:rPr lang="fr-FR" sz="1100" dirty="0">
                <a:solidFill>
                  <a:schemeClr val="bg1"/>
                </a:solidFill>
              </a:rPr>
              <a:t>si </a:t>
            </a:r>
            <a:r>
              <a:rPr lang="fr-FR" sz="1100" dirty="0" err="1">
                <a:solidFill>
                  <a:schemeClr val="bg1"/>
                </a:solidFill>
              </a:rPr>
              <a:t>doluptaque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volores</a:t>
            </a:r>
            <a:r>
              <a:rPr lang="fr-FR" sz="1100" dirty="0">
                <a:solidFill>
                  <a:schemeClr val="bg1"/>
                </a:solidFill>
              </a:rPr>
              <a:t> mos </a:t>
            </a:r>
            <a:r>
              <a:rPr lang="fr-FR" sz="1100" dirty="0" err="1">
                <a:solidFill>
                  <a:schemeClr val="bg1"/>
                </a:solidFill>
              </a:rPr>
              <a:t>Optiorro</a:t>
            </a:r>
            <a:r>
              <a:rPr lang="fr-FR" sz="1100" dirty="0">
                <a:solidFill>
                  <a:schemeClr val="bg1"/>
                </a:solidFill>
              </a:rPr>
              <a:t> te </a:t>
            </a:r>
            <a:r>
              <a:rPr lang="fr-FR" sz="1100" dirty="0" err="1">
                <a:solidFill>
                  <a:schemeClr val="bg1"/>
                </a:solidFill>
              </a:rPr>
              <a:t>soluptur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am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susantium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cuscien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totaqui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nonsequ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undaest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oreplaut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dolorero</a:t>
            </a:r>
            <a:r>
              <a:rPr lang="fr-FR" sz="1100" dirty="0">
                <a:solidFill>
                  <a:schemeClr val="bg1"/>
                </a:solidFill>
              </a:rPr>
              <a:t> mo </a:t>
            </a:r>
            <a:r>
              <a:rPr lang="fr-FR" sz="1100" dirty="0" err="1">
                <a:solidFill>
                  <a:schemeClr val="bg1"/>
                </a:solidFill>
              </a:rPr>
              <a:t>quossitibus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plit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pa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volenim</a:t>
            </a:r>
            <a:r>
              <a:rPr lang="fr-FR" sz="1100" dirty="0">
                <a:solidFill>
                  <a:schemeClr val="bg1"/>
                </a:solidFill>
              </a:rPr>
              <a:t> qui </a:t>
            </a:r>
            <a:r>
              <a:rPr lang="fr-FR" sz="1100" dirty="0" err="1">
                <a:solidFill>
                  <a:schemeClr val="bg1"/>
                </a:solidFill>
              </a:rPr>
              <a:t>volupti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nitia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diae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nimillo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6" name="Richtungspfeil 13">
            <a:extLst>
              <a:ext uri="{FF2B5EF4-FFF2-40B4-BE49-F238E27FC236}">
                <a16:creationId xmlns:a16="http://schemas.microsoft.com/office/drawing/2014/main" id="{D4F94D62-DA5F-44E7-8C45-D40C404245B9}"/>
              </a:ext>
            </a:extLst>
          </p:cNvPr>
          <p:cNvSpPr/>
          <p:nvPr userDrawn="1"/>
        </p:nvSpPr>
        <p:spPr>
          <a:xfrm>
            <a:off x="0" y="2196263"/>
            <a:ext cx="2110747" cy="2952000"/>
          </a:xfrm>
          <a:prstGeom prst="homePlate">
            <a:avLst>
              <a:gd name="adj" fmla="val 2898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000" tIns="180000" rIns="180000" bIns="378000" rtlCol="0" anchor="t" anchorCtr="0"/>
          <a:lstStyle/>
          <a:p>
            <a:r>
              <a:rPr lang="fr-FR" sz="1600" dirty="0">
                <a:solidFill>
                  <a:schemeClr val="accent2"/>
                </a:solidFill>
                <a:latin typeface="+mj-lt"/>
              </a:rPr>
              <a:t>1  </a:t>
            </a:r>
            <a:r>
              <a:rPr lang="fr-FR" sz="1600" dirty="0" err="1">
                <a:solidFill>
                  <a:schemeClr val="accent2"/>
                </a:solidFill>
                <a:latin typeface="+mj-lt"/>
              </a:rPr>
              <a:t>Step</a:t>
            </a:r>
            <a:r>
              <a:rPr lang="fr-FR" sz="1600" dirty="0">
                <a:solidFill>
                  <a:schemeClr val="accent2"/>
                </a:solidFill>
                <a:latin typeface="+mj-lt"/>
              </a:rPr>
              <a:t> one</a:t>
            </a:r>
          </a:p>
          <a:p>
            <a:endParaRPr lang="fr-FR" sz="1100" dirty="0">
              <a:solidFill>
                <a:schemeClr val="accent2"/>
              </a:solidFill>
            </a:endParaRPr>
          </a:p>
          <a:p>
            <a:r>
              <a:rPr lang="fr-FR" sz="1100" dirty="0">
                <a:solidFill>
                  <a:schemeClr val="accent2"/>
                </a:solidFill>
                <a:latin typeface="+mj-lt"/>
              </a:rPr>
              <a:t>Headline</a:t>
            </a:r>
          </a:p>
          <a:p>
            <a:r>
              <a:rPr lang="fr-FR" sz="1100" dirty="0">
                <a:solidFill>
                  <a:schemeClr val="accent2"/>
                </a:solidFill>
              </a:rPr>
              <a:t>Copy </a:t>
            </a:r>
            <a:r>
              <a:rPr lang="fr-FR" sz="1100" dirty="0" err="1">
                <a:solidFill>
                  <a:schemeClr val="accent2"/>
                </a:solidFill>
              </a:rPr>
              <a:t>text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namus</a:t>
            </a:r>
            <a:r>
              <a:rPr lang="fr-FR" sz="1100" dirty="0">
                <a:solidFill>
                  <a:schemeClr val="accent2"/>
                </a:solidFill>
              </a:rPr>
              <a:t> si </a:t>
            </a:r>
            <a:r>
              <a:rPr lang="fr-FR" sz="1100" dirty="0" err="1">
                <a:solidFill>
                  <a:schemeClr val="accent2"/>
                </a:solidFill>
              </a:rPr>
              <a:t>doluptaque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volores</a:t>
            </a:r>
            <a:r>
              <a:rPr lang="fr-FR" sz="1100" dirty="0">
                <a:solidFill>
                  <a:schemeClr val="accent2"/>
                </a:solidFill>
              </a:rPr>
              <a:t> mos </a:t>
            </a:r>
            <a:r>
              <a:rPr lang="fr-FR" sz="1100" dirty="0" err="1">
                <a:solidFill>
                  <a:schemeClr val="accent2"/>
                </a:solidFill>
              </a:rPr>
              <a:t>Optiorro</a:t>
            </a:r>
            <a:r>
              <a:rPr lang="fr-FR" sz="1100" dirty="0">
                <a:solidFill>
                  <a:schemeClr val="accent2"/>
                </a:solidFill>
              </a:rPr>
              <a:t> te </a:t>
            </a:r>
            <a:r>
              <a:rPr lang="fr-FR" sz="1100" dirty="0" err="1">
                <a:solidFill>
                  <a:schemeClr val="accent2"/>
                </a:solidFill>
              </a:rPr>
              <a:t>soluptur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am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susantium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cuscien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totaqui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nonsequ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undaest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oreplaut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dolorero</a:t>
            </a:r>
            <a:r>
              <a:rPr lang="fr-FR" sz="1100" dirty="0">
                <a:solidFill>
                  <a:schemeClr val="accent2"/>
                </a:solidFill>
              </a:rPr>
              <a:t> mo </a:t>
            </a:r>
            <a:r>
              <a:rPr lang="fr-FR" sz="1100" dirty="0" err="1">
                <a:solidFill>
                  <a:schemeClr val="accent2"/>
                </a:solidFill>
              </a:rPr>
              <a:t>quossitibus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plit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pa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volenim</a:t>
            </a:r>
            <a:r>
              <a:rPr lang="fr-FR" sz="1100" dirty="0">
                <a:solidFill>
                  <a:schemeClr val="accent2"/>
                </a:solidFill>
              </a:rPr>
              <a:t> qui </a:t>
            </a:r>
            <a:r>
              <a:rPr lang="fr-FR" sz="1100" dirty="0" err="1">
                <a:solidFill>
                  <a:schemeClr val="accent2"/>
                </a:solidFill>
              </a:rPr>
              <a:t>volupti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nitia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diae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nimillo</a:t>
            </a:r>
            <a:endParaRPr lang="fr-FR" sz="1100" dirty="0">
              <a:solidFill>
                <a:schemeClr val="accent2"/>
              </a:solidFill>
            </a:endParaRPr>
          </a:p>
        </p:txBody>
      </p:sp>
      <p:sp>
        <p:nvSpPr>
          <p:cNvPr id="14" name="Dátum helye 2">
            <a:extLst>
              <a:ext uri="{FF2B5EF4-FFF2-40B4-BE49-F238E27FC236}">
                <a16:creationId xmlns:a16="http://schemas.microsoft.com/office/drawing/2014/main" id="{7804D7FC-2973-4384-942E-1064E1FFD5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388280C8-4BBD-484B-B75A-3E9152A98E6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7" name="Dia számának helye 4">
            <a:extLst>
              <a:ext uri="{FF2B5EF4-FFF2-40B4-BE49-F238E27FC236}">
                <a16:creationId xmlns:a16="http://schemas.microsoft.com/office/drawing/2014/main" id="{1EB76C80-43CF-481C-B297-8C08D2CE8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05565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8F9E6102-AAE2-4106-BF26-F55A97B8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88304F2-54BC-4558-B107-E87651676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</p:spPr>
        <p:txBody>
          <a:bodyPr/>
          <a:lstStyle/>
          <a:p>
            <a:r>
              <a:rPr lang="de-DE" dirty="0"/>
              <a:t>Graph </a:t>
            </a:r>
            <a:r>
              <a:rPr lang="de-DE" dirty="0" err="1"/>
              <a:t>chart</a:t>
            </a:r>
            <a:br>
              <a:rPr lang="de-DE" dirty="0"/>
            </a:b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graphicFrame>
        <p:nvGraphicFramePr>
          <p:cNvPr id="9" name="Inhaltsplatzhalter 8">
            <a:extLst>
              <a:ext uri="{FF2B5EF4-FFF2-40B4-BE49-F238E27FC236}">
                <a16:creationId xmlns:a16="http://schemas.microsoft.com/office/drawing/2014/main" id="{C31B8C3E-A250-41EA-9377-0BCD67C3036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158211378"/>
              </p:ext>
            </p:extLst>
          </p:nvPr>
        </p:nvGraphicFramePr>
        <p:xfrm>
          <a:off x="377825" y="1371600"/>
          <a:ext cx="5508625" cy="339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D8ADB75B-20BF-448A-BABE-D0610C3259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r>
              <a:rPr lang="de-DE" dirty="0"/>
              <a:t> </a:t>
            </a:r>
            <a:r>
              <a:rPr lang="de-DE" dirty="0" err="1"/>
              <a:t>cuscien</a:t>
            </a:r>
            <a:r>
              <a:rPr lang="de-DE" dirty="0"/>
              <a:t> </a:t>
            </a:r>
            <a:r>
              <a:rPr lang="de-DE" dirty="0" err="1"/>
              <a:t>totaqui</a:t>
            </a:r>
            <a:r>
              <a:rPr lang="de-DE" dirty="0"/>
              <a:t> </a:t>
            </a:r>
            <a:r>
              <a:rPr lang="de-DE" dirty="0" err="1"/>
              <a:t>nonsequ</a:t>
            </a:r>
            <a:r>
              <a:rPr lang="de-DE" dirty="0"/>
              <a:t> </a:t>
            </a:r>
            <a:r>
              <a:rPr lang="de-DE" dirty="0" err="1"/>
              <a:t>undaest</a:t>
            </a:r>
            <a:r>
              <a:rPr lang="de-DE" dirty="0"/>
              <a:t> </a:t>
            </a:r>
            <a:r>
              <a:rPr lang="de-DE" dirty="0" err="1"/>
              <a:t>oreprovita</a:t>
            </a:r>
            <a:r>
              <a:rPr lang="de-DE" dirty="0"/>
              <a:t> </a:t>
            </a:r>
            <a:r>
              <a:rPr lang="de-DE" dirty="0" err="1"/>
              <a:t>seditec</a:t>
            </a:r>
            <a:r>
              <a:rPr lang="de-DE" dirty="0"/>
              <a:t> </a:t>
            </a:r>
            <a:r>
              <a:rPr lang="de-DE" dirty="0" err="1"/>
              <a:t>tatesci</a:t>
            </a:r>
            <a:r>
              <a:rPr lang="de-DE" dirty="0"/>
              <a:t> </a:t>
            </a:r>
            <a:r>
              <a:rPr lang="de-DE" dirty="0" err="1"/>
              <a:t>minciet</a:t>
            </a:r>
            <a:r>
              <a:rPr lang="de-DE" dirty="0"/>
              <a:t> </a:t>
            </a:r>
            <a:r>
              <a:rPr lang="de-DE" dirty="0" err="1"/>
              <a:t>evenis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epe</a:t>
            </a:r>
            <a:r>
              <a:rPr lang="de-DE" dirty="0"/>
              <a:t> </a:t>
            </a:r>
            <a:r>
              <a:rPr lang="de-DE" dirty="0" err="1"/>
              <a:t>volupid</a:t>
            </a:r>
            <a:r>
              <a:rPr lang="de-DE" dirty="0"/>
              <a:t> </a:t>
            </a:r>
            <a:r>
              <a:rPr lang="de-DE" dirty="0" err="1"/>
              <a:t>estempo</a:t>
            </a:r>
            <a:r>
              <a:rPr lang="de-DE" dirty="0"/>
              <a:t> </a:t>
            </a:r>
            <a:r>
              <a:rPr lang="de-DE" dirty="0" err="1"/>
              <a:t>rrovide</a:t>
            </a:r>
            <a:r>
              <a:rPr lang="de-DE" dirty="0"/>
              <a:t> </a:t>
            </a:r>
            <a:r>
              <a:rPr lang="de-DE" dirty="0" err="1"/>
              <a:t>llantum</a:t>
            </a:r>
            <a:r>
              <a:rPr lang="de-DE" dirty="0"/>
              <a:t> </a:t>
            </a:r>
            <a:r>
              <a:rPr lang="de-DE" dirty="0" err="1"/>
              <a:t>quissim</a:t>
            </a:r>
            <a:r>
              <a:rPr lang="de-DE" dirty="0"/>
              <a:t> </a:t>
            </a:r>
            <a:r>
              <a:rPr lang="de-DE" dirty="0" err="1"/>
              <a:t>doluptae</a:t>
            </a:r>
            <a:r>
              <a:rPr lang="de-DE" dirty="0"/>
              <a:t> </a:t>
            </a:r>
            <a:r>
              <a:rPr lang="de-DE" dirty="0" err="1"/>
              <a:t>omnis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endis</a:t>
            </a:r>
            <a:r>
              <a:rPr lang="de-DE" dirty="0"/>
              <a:t> </a:t>
            </a:r>
            <a:r>
              <a:rPr lang="de-DE" dirty="0" err="1"/>
              <a:t>eaturib</a:t>
            </a:r>
            <a:r>
              <a:rPr lang="de-DE" dirty="0"/>
              <a:t> </a:t>
            </a:r>
            <a:r>
              <a:rPr lang="de-DE" dirty="0" err="1"/>
              <a:t>earchil</a:t>
            </a:r>
            <a:r>
              <a:rPr lang="de-DE" dirty="0"/>
              <a:t> 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opta</a:t>
            </a:r>
            <a:r>
              <a:rPr lang="de-DE" dirty="0"/>
              <a:t>.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EEC5C03B-3248-4EA0-BE12-B4878F5BC6EA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38000" y="4060800"/>
            <a:ext cx="2628000" cy="3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Dátum helye 2">
            <a:extLst>
              <a:ext uri="{FF2B5EF4-FFF2-40B4-BE49-F238E27FC236}">
                <a16:creationId xmlns:a16="http://schemas.microsoft.com/office/drawing/2014/main" id="{C81080FE-59A5-4FA4-870C-CB1AE35195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8E006B33-58F3-4CA9-B35A-B9E1A67C45E7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6" name="Dia számának helye 4">
            <a:extLst>
              <a:ext uri="{FF2B5EF4-FFF2-40B4-BE49-F238E27FC236}">
                <a16:creationId xmlns:a16="http://schemas.microsoft.com/office/drawing/2014/main" id="{21AFF31E-4E71-48E0-97F9-EF5A0D778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1841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8F9E6102-AAE2-4106-BF26-F55A97B8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30426479-889D-428A-A692-9BA49D748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</p:spPr>
        <p:txBody>
          <a:bodyPr/>
          <a:lstStyle/>
          <a:p>
            <a:r>
              <a:rPr lang="de-DE" dirty="0"/>
              <a:t>Graph </a:t>
            </a:r>
            <a:r>
              <a:rPr lang="de-DE" dirty="0" err="1"/>
              <a:t>chart</a:t>
            </a:r>
            <a:br>
              <a:rPr lang="de-DE" dirty="0"/>
            </a:br>
            <a:r>
              <a:rPr lang="de-DE" dirty="0"/>
              <a:t>bar </a:t>
            </a:r>
            <a:r>
              <a:rPr lang="de-DE" dirty="0" err="1"/>
              <a:t>chart</a:t>
            </a:r>
            <a:endParaRPr lang="de-DE" dirty="0"/>
          </a:p>
        </p:txBody>
      </p:sp>
      <p:graphicFrame>
        <p:nvGraphicFramePr>
          <p:cNvPr id="9" name="Inhaltsplatzhalter 6">
            <a:extLst>
              <a:ext uri="{FF2B5EF4-FFF2-40B4-BE49-F238E27FC236}">
                <a16:creationId xmlns:a16="http://schemas.microsoft.com/office/drawing/2014/main" id="{C36CE062-7204-4F8A-8D6D-BAAB2F4469D8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14909941"/>
              </p:ext>
            </p:extLst>
          </p:nvPr>
        </p:nvGraphicFramePr>
        <p:xfrm>
          <a:off x="377825" y="1371600"/>
          <a:ext cx="5508625" cy="339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520A3502-40BB-4538-A96F-C1C2AE004515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r>
              <a:rPr lang="de-DE" dirty="0"/>
              <a:t> </a:t>
            </a:r>
            <a:r>
              <a:rPr lang="de-DE" dirty="0" err="1"/>
              <a:t>cuscien</a:t>
            </a:r>
            <a:r>
              <a:rPr lang="de-DE" dirty="0"/>
              <a:t> </a:t>
            </a:r>
            <a:r>
              <a:rPr lang="de-DE" dirty="0" err="1"/>
              <a:t>totaqui</a:t>
            </a:r>
            <a:r>
              <a:rPr lang="de-DE" dirty="0"/>
              <a:t> </a:t>
            </a:r>
            <a:r>
              <a:rPr lang="de-DE" dirty="0" err="1"/>
              <a:t>nonsequ</a:t>
            </a:r>
            <a:r>
              <a:rPr lang="de-DE" dirty="0"/>
              <a:t> </a:t>
            </a:r>
            <a:r>
              <a:rPr lang="de-DE" dirty="0" err="1"/>
              <a:t>undaest</a:t>
            </a:r>
            <a:r>
              <a:rPr lang="de-DE" dirty="0"/>
              <a:t> </a:t>
            </a:r>
            <a:r>
              <a:rPr lang="de-DE" dirty="0" err="1"/>
              <a:t>oreprovita</a:t>
            </a:r>
            <a:r>
              <a:rPr lang="de-DE" dirty="0"/>
              <a:t> </a:t>
            </a:r>
            <a:r>
              <a:rPr lang="de-DE" dirty="0" err="1"/>
              <a:t>seditec</a:t>
            </a:r>
            <a:r>
              <a:rPr lang="de-DE" dirty="0"/>
              <a:t> </a:t>
            </a:r>
            <a:r>
              <a:rPr lang="de-DE" dirty="0" err="1"/>
              <a:t>tatesci</a:t>
            </a:r>
            <a:r>
              <a:rPr lang="de-DE" dirty="0"/>
              <a:t> </a:t>
            </a:r>
            <a:r>
              <a:rPr lang="de-DE" dirty="0" err="1"/>
              <a:t>minciet</a:t>
            </a:r>
            <a:r>
              <a:rPr lang="de-DE" dirty="0"/>
              <a:t> </a:t>
            </a:r>
            <a:r>
              <a:rPr lang="de-DE" dirty="0" err="1"/>
              <a:t>evenis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epe</a:t>
            </a:r>
            <a:r>
              <a:rPr lang="de-DE" dirty="0"/>
              <a:t> </a:t>
            </a:r>
            <a:r>
              <a:rPr lang="de-DE" dirty="0" err="1"/>
              <a:t>volupid</a:t>
            </a:r>
            <a:r>
              <a:rPr lang="de-DE" dirty="0"/>
              <a:t> </a:t>
            </a:r>
            <a:r>
              <a:rPr lang="de-DE" dirty="0" err="1"/>
              <a:t>estempo</a:t>
            </a:r>
            <a:r>
              <a:rPr lang="de-DE" dirty="0"/>
              <a:t> </a:t>
            </a:r>
            <a:r>
              <a:rPr lang="de-DE" dirty="0" err="1"/>
              <a:t>rrovide</a:t>
            </a:r>
            <a:r>
              <a:rPr lang="de-DE" dirty="0"/>
              <a:t> </a:t>
            </a:r>
            <a:r>
              <a:rPr lang="de-DE" dirty="0" err="1"/>
              <a:t>llantum</a:t>
            </a:r>
            <a:r>
              <a:rPr lang="de-DE" dirty="0"/>
              <a:t> </a:t>
            </a:r>
            <a:r>
              <a:rPr lang="de-DE" dirty="0" err="1"/>
              <a:t>quissim</a:t>
            </a:r>
            <a:r>
              <a:rPr lang="de-DE" dirty="0"/>
              <a:t> </a:t>
            </a:r>
            <a:r>
              <a:rPr lang="de-DE" dirty="0" err="1"/>
              <a:t>doluptae</a:t>
            </a:r>
            <a:r>
              <a:rPr lang="de-DE" dirty="0"/>
              <a:t> </a:t>
            </a:r>
            <a:r>
              <a:rPr lang="de-DE" dirty="0" err="1"/>
              <a:t>omnis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endis</a:t>
            </a:r>
            <a:r>
              <a:rPr lang="de-DE" dirty="0"/>
              <a:t> </a:t>
            </a:r>
            <a:r>
              <a:rPr lang="de-DE" dirty="0" err="1"/>
              <a:t>eaturib</a:t>
            </a:r>
            <a:r>
              <a:rPr lang="de-DE" dirty="0"/>
              <a:t> </a:t>
            </a:r>
            <a:r>
              <a:rPr lang="de-DE" dirty="0" err="1"/>
              <a:t>earchil</a:t>
            </a:r>
            <a:r>
              <a:rPr lang="de-DE" dirty="0"/>
              <a:t> 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opta</a:t>
            </a:r>
            <a:r>
              <a:rPr lang="de-DE" dirty="0"/>
              <a:t>.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966ACE78-FC4B-4486-81DF-02448FA1A95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38000" y="4060800"/>
            <a:ext cx="2628000" cy="3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Dátum helye 2">
            <a:extLst>
              <a:ext uri="{FF2B5EF4-FFF2-40B4-BE49-F238E27FC236}">
                <a16:creationId xmlns:a16="http://schemas.microsoft.com/office/drawing/2014/main" id="{41D66CF7-767C-49E8-BD75-4133DF8DA0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482B8862-2DB0-47E4-A543-2288856F632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6" name="Dia számának helye 4">
            <a:extLst>
              <a:ext uri="{FF2B5EF4-FFF2-40B4-BE49-F238E27FC236}">
                <a16:creationId xmlns:a16="http://schemas.microsoft.com/office/drawing/2014/main" id="{400C52CA-1A05-41FC-9CAD-BB5156D26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85968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chart r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Inhaltsplatzhalter 8">
            <a:extLst>
              <a:ext uri="{FF2B5EF4-FFF2-40B4-BE49-F238E27FC236}">
                <a16:creationId xmlns:a16="http://schemas.microsoft.com/office/drawing/2014/main" id="{02B1A1CB-2FA8-4165-B413-5D0EEF3535F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58495086"/>
              </p:ext>
            </p:extLst>
          </p:nvPr>
        </p:nvGraphicFramePr>
        <p:xfrm>
          <a:off x="377825" y="1371600"/>
          <a:ext cx="5508625" cy="339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AF835CF3-6969-4005-83BA-4666A6514116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de-DE" dirty="0">
                <a:latin typeface="+mj-lt"/>
              </a:rPr>
              <a:t>Headline, 11 </a:t>
            </a:r>
            <a:r>
              <a:rPr lang="de-DE" dirty="0" err="1">
                <a:latin typeface="+mj-lt"/>
              </a:rPr>
              <a:t>pt</a:t>
            </a:r>
            <a:r>
              <a:rPr lang="de-DE" dirty="0">
                <a:latin typeface="+mj-lt"/>
              </a:rPr>
              <a:t>, Brix Sans Black</a:t>
            </a:r>
          </a:p>
          <a:p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, 11 </a:t>
            </a:r>
            <a:r>
              <a:rPr lang="de-DE" dirty="0" err="1"/>
              <a:t>pt</a:t>
            </a:r>
            <a:r>
              <a:rPr lang="de-DE" dirty="0"/>
              <a:t>, Brix Sans Regular, </a:t>
            </a:r>
            <a:r>
              <a:rPr lang="de-DE" dirty="0" err="1"/>
              <a:t>namus</a:t>
            </a:r>
            <a:r>
              <a:rPr lang="de-DE" dirty="0"/>
              <a:t> si </a:t>
            </a:r>
            <a:r>
              <a:rPr lang="de-DE" dirty="0" err="1"/>
              <a:t>doluptaque</a:t>
            </a:r>
            <a:r>
              <a:rPr lang="de-DE" dirty="0"/>
              <a:t> </a:t>
            </a:r>
            <a:r>
              <a:rPr lang="de-DE" dirty="0" err="1"/>
              <a:t>volores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Optiorro</a:t>
            </a:r>
            <a:r>
              <a:rPr lang="de-DE" dirty="0"/>
              <a:t> </a:t>
            </a:r>
            <a:r>
              <a:rPr lang="de-DE" dirty="0" err="1"/>
              <a:t>te</a:t>
            </a:r>
            <a:r>
              <a:rPr lang="de-DE" dirty="0"/>
              <a:t> </a:t>
            </a:r>
            <a:r>
              <a:rPr lang="de-DE" dirty="0" err="1"/>
              <a:t>soluptur</a:t>
            </a:r>
            <a:r>
              <a:rPr lang="de-DE" dirty="0"/>
              <a:t> am </a:t>
            </a:r>
            <a:r>
              <a:rPr lang="de-DE" dirty="0" err="1"/>
              <a:t>susantium</a:t>
            </a:r>
            <a:r>
              <a:rPr lang="de-DE" dirty="0"/>
              <a:t> </a:t>
            </a:r>
            <a:r>
              <a:rPr lang="de-DE" dirty="0" err="1"/>
              <a:t>cuscien</a:t>
            </a:r>
            <a:r>
              <a:rPr lang="de-DE" dirty="0"/>
              <a:t> </a:t>
            </a:r>
            <a:r>
              <a:rPr lang="de-DE" dirty="0" err="1"/>
              <a:t>totaqui</a:t>
            </a:r>
            <a:r>
              <a:rPr lang="de-DE" dirty="0"/>
              <a:t> </a:t>
            </a:r>
            <a:r>
              <a:rPr lang="de-DE" dirty="0" err="1"/>
              <a:t>nonsequ</a:t>
            </a:r>
            <a:r>
              <a:rPr lang="de-DE" dirty="0"/>
              <a:t> </a:t>
            </a:r>
            <a:r>
              <a:rPr lang="de-DE" dirty="0" err="1"/>
              <a:t>undaest</a:t>
            </a:r>
            <a:r>
              <a:rPr lang="de-DE" dirty="0"/>
              <a:t> </a:t>
            </a:r>
            <a:r>
              <a:rPr lang="de-DE" dirty="0" err="1"/>
              <a:t>oreprovita</a:t>
            </a:r>
            <a:r>
              <a:rPr lang="de-DE" dirty="0"/>
              <a:t> </a:t>
            </a:r>
            <a:r>
              <a:rPr lang="de-DE" dirty="0" err="1"/>
              <a:t>seditec</a:t>
            </a:r>
            <a:r>
              <a:rPr lang="de-DE" dirty="0"/>
              <a:t> </a:t>
            </a:r>
            <a:r>
              <a:rPr lang="de-DE" dirty="0" err="1"/>
              <a:t>tatesci</a:t>
            </a:r>
            <a:r>
              <a:rPr lang="de-DE" dirty="0"/>
              <a:t> </a:t>
            </a:r>
            <a:r>
              <a:rPr lang="de-DE" dirty="0" err="1"/>
              <a:t>minciet</a:t>
            </a:r>
            <a:r>
              <a:rPr lang="de-DE" dirty="0"/>
              <a:t> </a:t>
            </a:r>
            <a:r>
              <a:rPr lang="de-DE" dirty="0" err="1"/>
              <a:t>evenis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epe</a:t>
            </a:r>
            <a:r>
              <a:rPr lang="de-DE" dirty="0"/>
              <a:t> </a:t>
            </a:r>
            <a:r>
              <a:rPr lang="de-DE" dirty="0" err="1"/>
              <a:t>volupid</a:t>
            </a:r>
            <a:r>
              <a:rPr lang="de-DE" dirty="0"/>
              <a:t> </a:t>
            </a:r>
            <a:r>
              <a:rPr lang="de-DE" dirty="0" err="1"/>
              <a:t>estempo</a:t>
            </a:r>
            <a:r>
              <a:rPr lang="de-DE" dirty="0"/>
              <a:t> </a:t>
            </a:r>
            <a:r>
              <a:rPr lang="de-DE" dirty="0" err="1"/>
              <a:t>rrovide</a:t>
            </a:r>
            <a:r>
              <a:rPr lang="de-DE" dirty="0"/>
              <a:t> </a:t>
            </a:r>
            <a:r>
              <a:rPr lang="de-DE" dirty="0" err="1"/>
              <a:t>llantum</a:t>
            </a:r>
            <a:r>
              <a:rPr lang="de-DE" dirty="0"/>
              <a:t> </a:t>
            </a:r>
            <a:r>
              <a:rPr lang="de-DE" dirty="0" err="1"/>
              <a:t>quissim</a:t>
            </a:r>
            <a:r>
              <a:rPr lang="de-DE" dirty="0"/>
              <a:t> </a:t>
            </a:r>
            <a:r>
              <a:rPr lang="de-DE" dirty="0" err="1"/>
              <a:t>doluptae</a:t>
            </a:r>
            <a:r>
              <a:rPr lang="de-DE" dirty="0"/>
              <a:t> </a:t>
            </a:r>
            <a:r>
              <a:rPr lang="de-DE" dirty="0" err="1"/>
              <a:t>omnis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endis</a:t>
            </a:r>
            <a:r>
              <a:rPr lang="de-DE" dirty="0"/>
              <a:t> </a:t>
            </a:r>
            <a:r>
              <a:rPr lang="de-DE" dirty="0" err="1"/>
              <a:t>eaturib</a:t>
            </a:r>
            <a:r>
              <a:rPr lang="de-DE" dirty="0"/>
              <a:t> </a:t>
            </a:r>
            <a:r>
              <a:rPr lang="de-DE" dirty="0" err="1"/>
              <a:t>earchil</a:t>
            </a:r>
            <a:r>
              <a:rPr lang="de-DE" dirty="0"/>
              <a:t> 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opta</a:t>
            </a:r>
            <a:r>
              <a:rPr lang="de-DE" dirty="0"/>
              <a:t>.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4CD037E8-B6E3-4977-92A9-9505FC1C9686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38000" y="4060800"/>
            <a:ext cx="2628000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186B6FD-6149-4860-9AAE-8A8AEAD49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</p:spPr>
        <p:txBody>
          <a:bodyPr/>
          <a:lstStyle/>
          <a:p>
            <a:r>
              <a:rPr lang="de-DE" dirty="0"/>
              <a:t>Graph </a:t>
            </a:r>
            <a:r>
              <a:rPr lang="de-DE" dirty="0" err="1"/>
              <a:t>chart</a:t>
            </a:r>
            <a:br>
              <a:rPr lang="de-DE" dirty="0"/>
            </a:br>
            <a:r>
              <a:rPr lang="de-DE" dirty="0"/>
              <a:t>ring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3BEB427F-BCC4-4CB8-843C-DC4558A9F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3" name="Dátum helye 2">
            <a:extLst>
              <a:ext uri="{FF2B5EF4-FFF2-40B4-BE49-F238E27FC236}">
                <a16:creationId xmlns:a16="http://schemas.microsoft.com/office/drawing/2014/main" id="{C613E58E-7065-4140-8317-6283E63D4E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FCBF920-E46D-45FF-B4F2-6240CDDEB37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4" name="Dia számának helye 4">
            <a:extLst>
              <a:ext uri="{FF2B5EF4-FFF2-40B4-BE49-F238E27FC236}">
                <a16:creationId xmlns:a16="http://schemas.microsoft.com/office/drawing/2014/main" id="{640B5D4B-851B-4AF6-9295-C44B159AA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96531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1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2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6652800" y="0"/>
            <a:ext cx="2491200" cy="5144400"/>
            <a:chOff x="6652800" y="0"/>
            <a:chExt cx="24912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7030800" y="0"/>
              <a:ext cx="2113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6652800" y="0"/>
              <a:ext cx="3780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899242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spter full color 2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8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8" name="Rechteck 7"/>
            <p:cNvSpPr/>
            <p:nvPr/>
          </p:nvSpPr>
          <p:spPr>
            <a:xfrm>
              <a:off x="7408800" y="0"/>
              <a:ext cx="1735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1597978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ess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660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682095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llum /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9">
            <a:extLst>
              <a:ext uri="{FF2B5EF4-FFF2-40B4-BE49-F238E27FC236}">
                <a16:creationId xmlns:a16="http://schemas.microsoft.com/office/drawing/2014/main" id="{4223BE3B-97D7-4CFA-A95F-C9C9C0B40E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01988" y="1437308"/>
            <a:ext cx="1423988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1" name="Szöveg helye 9">
            <a:extLst>
              <a:ext uri="{FF2B5EF4-FFF2-40B4-BE49-F238E27FC236}">
                <a16:creationId xmlns:a16="http://schemas.microsoft.com/office/drawing/2014/main" id="{53A9EE97-BD37-420A-B7FB-D4347CB9BD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3613" y="1437149"/>
            <a:ext cx="1423988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endParaRPr lang="hu-HU" dirty="0"/>
          </a:p>
        </p:txBody>
      </p:sp>
      <p:sp>
        <p:nvSpPr>
          <p:cNvPr id="12" name="Szöveg helye 9">
            <a:extLst>
              <a:ext uri="{FF2B5EF4-FFF2-40B4-BE49-F238E27FC236}">
                <a16:creationId xmlns:a16="http://schemas.microsoft.com/office/drawing/2014/main" id="{2FD5E451-6B28-4EDB-A071-C6C9A50785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5238" y="1438570"/>
            <a:ext cx="1423988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</a:p>
          <a:p>
            <a:pPr lvl="0"/>
            <a:r>
              <a:rPr lang="hu-HU" dirty="0" err="1"/>
              <a:t>Lussue</a:t>
            </a:r>
            <a:r>
              <a:rPr lang="hu-HU" dirty="0"/>
              <a:t> </a:t>
            </a:r>
            <a:r>
              <a:rPr lang="hu-HU" dirty="0" err="1"/>
              <a:t>dextornet</a:t>
            </a:r>
            <a:endParaRPr lang="hu-HU" dirty="0"/>
          </a:p>
        </p:txBody>
      </p:sp>
      <p:sp>
        <p:nvSpPr>
          <p:cNvPr id="13" name="Szöveg helye 9">
            <a:extLst>
              <a:ext uri="{FF2B5EF4-FFF2-40B4-BE49-F238E27FC236}">
                <a16:creationId xmlns:a16="http://schemas.microsoft.com/office/drawing/2014/main" id="{CD99BD0C-4725-480C-AFC1-4A328A1972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26863" y="1438570"/>
            <a:ext cx="1797724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endParaRPr lang="hu-HU" dirty="0"/>
          </a:p>
        </p:txBody>
      </p:sp>
      <p:sp>
        <p:nvSpPr>
          <p:cNvPr id="14" name="Szöveg helye 9">
            <a:extLst>
              <a:ext uri="{FF2B5EF4-FFF2-40B4-BE49-F238E27FC236}">
                <a16:creationId xmlns:a16="http://schemas.microsoft.com/office/drawing/2014/main" id="{F75DFF42-83C5-4CEF-B2BA-B85529B56F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0215" y="1974811"/>
            <a:ext cx="1423988" cy="527050"/>
          </a:xfrm>
          <a:noFill/>
          <a:ln>
            <a:noFill/>
          </a:ln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5" name="Szöveg helye 9">
            <a:extLst>
              <a:ext uri="{FF2B5EF4-FFF2-40B4-BE49-F238E27FC236}">
                <a16:creationId xmlns:a16="http://schemas.microsoft.com/office/drawing/2014/main" id="{06B93B85-AF78-4854-B144-2ACD4945B1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600" y="2904208"/>
            <a:ext cx="1423988" cy="527050"/>
          </a:xfrm>
          <a:noFill/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6" name="Szöveg helye 9">
            <a:extLst>
              <a:ext uri="{FF2B5EF4-FFF2-40B4-BE49-F238E27FC236}">
                <a16:creationId xmlns:a16="http://schemas.microsoft.com/office/drawing/2014/main" id="{993D027A-9D06-474C-99A8-51C68D16F1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00" y="3839616"/>
            <a:ext cx="1423988" cy="527050"/>
          </a:xfrm>
          <a:noFill/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7" name="Szöveg helye 9">
            <a:extLst>
              <a:ext uri="{FF2B5EF4-FFF2-40B4-BE49-F238E27FC236}">
                <a16:creationId xmlns:a16="http://schemas.microsoft.com/office/drawing/2014/main" id="{A07BC514-FA8C-4656-9ED0-A66D390F29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01988" y="1974811"/>
            <a:ext cx="1423988" cy="751431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8" name="Szöveg helye 9">
            <a:extLst>
              <a:ext uri="{FF2B5EF4-FFF2-40B4-BE49-F238E27FC236}">
                <a16:creationId xmlns:a16="http://schemas.microsoft.com/office/drawing/2014/main" id="{3F4B1B77-5713-45F6-8F30-7A1620FAB5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01988" y="2905917"/>
            <a:ext cx="1423990" cy="760873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9" name="Szöveg helye 9">
            <a:extLst>
              <a:ext uri="{FF2B5EF4-FFF2-40B4-BE49-F238E27FC236}">
                <a16:creationId xmlns:a16="http://schemas.microsoft.com/office/drawing/2014/main" id="{E1FD8DF3-44D9-4629-B88F-75E3EFA11A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4203" y="3837184"/>
            <a:ext cx="1421776" cy="778003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0" name="Szöveg helye 9">
            <a:extLst>
              <a:ext uri="{FF2B5EF4-FFF2-40B4-BE49-F238E27FC236}">
                <a16:creationId xmlns:a16="http://schemas.microsoft.com/office/drawing/2014/main" id="{2B664F17-A665-490D-BE2B-D3E38ABED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66167" y="1976233"/>
            <a:ext cx="1404663" cy="750009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1" name="Szöveg helye 9">
            <a:extLst>
              <a:ext uri="{FF2B5EF4-FFF2-40B4-BE49-F238E27FC236}">
                <a16:creationId xmlns:a16="http://schemas.microsoft.com/office/drawing/2014/main" id="{A26BEAA1-EFA8-4070-BC84-140F7C3836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62940" y="2905917"/>
            <a:ext cx="1404662" cy="760873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2" name="Szöveg helye 9">
            <a:extLst>
              <a:ext uri="{FF2B5EF4-FFF2-40B4-BE49-F238E27FC236}">
                <a16:creationId xmlns:a16="http://schemas.microsoft.com/office/drawing/2014/main" id="{54A97281-3A46-4FDC-BA77-B792BCA8B9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66167" y="3837184"/>
            <a:ext cx="1401436" cy="77800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3" name="Szöveg helye 9">
            <a:extLst>
              <a:ext uri="{FF2B5EF4-FFF2-40B4-BE49-F238E27FC236}">
                <a16:creationId xmlns:a16="http://schemas.microsoft.com/office/drawing/2014/main" id="{273FDFB4-4750-4DFC-8BED-CDFE1F8C98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85239" y="1965621"/>
            <a:ext cx="1423988" cy="760622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4" name="Szöveg helye 9">
            <a:extLst>
              <a:ext uri="{FF2B5EF4-FFF2-40B4-BE49-F238E27FC236}">
                <a16:creationId xmlns:a16="http://schemas.microsoft.com/office/drawing/2014/main" id="{86624BEF-0B0C-4A98-8777-B3E60686E3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85238" y="2905917"/>
            <a:ext cx="1423989" cy="76087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5" name="Szöveg helye 9">
            <a:extLst>
              <a:ext uri="{FF2B5EF4-FFF2-40B4-BE49-F238E27FC236}">
                <a16:creationId xmlns:a16="http://schemas.microsoft.com/office/drawing/2014/main" id="{2ADBC2A4-BEA1-44CA-A367-EDC9697052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85239" y="3839633"/>
            <a:ext cx="1423988" cy="775555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6" name="Szöveg helye 9">
            <a:extLst>
              <a:ext uri="{FF2B5EF4-FFF2-40B4-BE49-F238E27FC236}">
                <a16:creationId xmlns:a16="http://schemas.microsoft.com/office/drawing/2014/main" id="{087B891A-EDD1-443D-A046-12B900F30FD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6863" y="1961791"/>
            <a:ext cx="1797724" cy="764451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7" name="Szöveg helye 9">
            <a:extLst>
              <a:ext uri="{FF2B5EF4-FFF2-40B4-BE49-F238E27FC236}">
                <a16:creationId xmlns:a16="http://schemas.microsoft.com/office/drawing/2014/main" id="{1A124539-5390-4244-AB2E-BC82ADAE28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26862" y="2905918"/>
            <a:ext cx="1797725" cy="76087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8" name="Szöveg helye 9">
            <a:extLst>
              <a:ext uri="{FF2B5EF4-FFF2-40B4-BE49-F238E27FC236}">
                <a16:creationId xmlns:a16="http://schemas.microsoft.com/office/drawing/2014/main" id="{D19DB94E-B71A-4ACE-BC25-75A8A0F1E80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26861" y="3840956"/>
            <a:ext cx="1797726" cy="774232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35" name="Egyenes összekötő 34">
            <a:extLst>
              <a:ext uri="{FF2B5EF4-FFF2-40B4-BE49-F238E27FC236}">
                <a16:creationId xmlns:a16="http://schemas.microsoft.com/office/drawing/2014/main" id="{1F4039D1-76B8-41E6-A5EE-5FECD79D93AD}"/>
              </a:ext>
            </a:extLst>
          </p:cNvPr>
          <p:cNvCxnSpPr>
            <a:cxnSpLocks/>
          </p:cNvCxnSpPr>
          <p:nvPr userDrawn="1"/>
        </p:nvCxnSpPr>
        <p:spPr>
          <a:xfrm>
            <a:off x="6726863" y="2819255"/>
            <a:ext cx="1798012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Egyenes összekötő 46">
            <a:extLst>
              <a:ext uri="{FF2B5EF4-FFF2-40B4-BE49-F238E27FC236}">
                <a16:creationId xmlns:a16="http://schemas.microsoft.com/office/drawing/2014/main" id="{264654F4-67C8-4B14-B03E-656EB6CEE9C1}"/>
              </a:ext>
            </a:extLst>
          </p:cNvPr>
          <p:cNvCxnSpPr>
            <a:cxnSpLocks/>
          </p:cNvCxnSpPr>
          <p:nvPr userDrawn="1"/>
        </p:nvCxnSpPr>
        <p:spPr>
          <a:xfrm flipV="1">
            <a:off x="1804988" y="2819255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Egyenes összekötő 47">
            <a:extLst>
              <a:ext uri="{FF2B5EF4-FFF2-40B4-BE49-F238E27FC236}">
                <a16:creationId xmlns:a16="http://schemas.microsoft.com/office/drawing/2014/main" id="{0F3B0E64-5F83-409F-9E54-4EFB37405B53}"/>
              </a:ext>
            </a:extLst>
          </p:cNvPr>
          <p:cNvCxnSpPr>
            <a:cxnSpLocks/>
          </p:cNvCxnSpPr>
          <p:nvPr userDrawn="1"/>
        </p:nvCxnSpPr>
        <p:spPr>
          <a:xfrm>
            <a:off x="3466167" y="2819401"/>
            <a:ext cx="1404663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Egyenes összekötő 48">
            <a:extLst>
              <a:ext uri="{FF2B5EF4-FFF2-40B4-BE49-F238E27FC236}">
                <a16:creationId xmlns:a16="http://schemas.microsoft.com/office/drawing/2014/main" id="{3717019F-72A0-4B4C-BD51-2F12D8AA6B28}"/>
              </a:ext>
            </a:extLst>
          </p:cNvPr>
          <p:cNvCxnSpPr/>
          <p:nvPr userDrawn="1"/>
        </p:nvCxnSpPr>
        <p:spPr>
          <a:xfrm flipV="1">
            <a:off x="5085238" y="2820372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852B829A-6885-46E3-AAFB-0E4B6B3A3661}"/>
              </a:ext>
            </a:extLst>
          </p:cNvPr>
          <p:cNvCxnSpPr/>
          <p:nvPr userDrawn="1"/>
        </p:nvCxnSpPr>
        <p:spPr>
          <a:xfrm flipV="1">
            <a:off x="1821657" y="3751914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Egyenes összekötő 51">
            <a:extLst>
              <a:ext uri="{FF2B5EF4-FFF2-40B4-BE49-F238E27FC236}">
                <a16:creationId xmlns:a16="http://schemas.microsoft.com/office/drawing/2014/main" id="{EB5987A2-38B5-4F8C-AD39-EB8E0DE35ECA}"/>
              </a:ext>
            </a:extLst>
          </p:cNvPr>
          <p:cNvCxnSpPr/>
          <p:nvPr userDrawn="1"/>
        </p:nvCxnSpPr>
        <p:spPr>
          <a:xfrm flipV="1">
            <a:off x="3466167" y="3746933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Egyenes összekötő 52">
            <a:extLst>
              <a:ext uri="{FF2B5EF4-FFF2-40B4-BE49-F238E27FC236}">
                <a16:creationId xmlns:a16="http://schemas.microsoft.com/office/drawing/2014/main" id="{02C081C9-7761-4E99-923D-BB114DB62E66}"/>
              </a:ext>
            </a:extLst>
          </p:cNvPr>
          <p:cNvCxnSpPr/>
          <p:nvPr userDrawn="1"/>
        </p:nvCxnSpPr>
        <p:spPr>
          <a:xfrm flipV="1">
            <a:off x="5085237" y="3745962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Egyenes összekötő 53">
            <a:extLst>
              <a:ext uri="{FF2B5EF4-FFF2-40B4-BE49-F238E27FC236}">
                <a16:creationId xmlns:a16="http://schemas.microsoft.com/office/drawing/2014/main" id="{130012C7-2A85-463B-A33C-DBFE7799885D}"/>
              </a:ext>
            </a:extLst>
          </p:cNvPr>
          <p:cNvCxnSpPr>
            <a:cxnSpLocks/>
          </p:cNvCxnSpPr>
          <p:nvPr userDrawn="1"/>
        </p:nvCxnSpPr>
        <p:spPr>
          <a:xfrm>
            <a:off x="6726575" y="3746787"/>
            <a:ext cx="1798012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itel 1">
            <a:extLst>
              <a:ext uri="{FF2B5EF4-FFF2-40B4-BE49-F238E27FC236}">
                <a16:creationId xmlns:a16="http://schemas.microsoft.com/office/drawing/2014/main" id="{31670E7B-1794-48CE-A88D-F844B3364F78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ext </a:t>
            </a:r>
            <a:r>
              <a:rPr lang="hu-HU" dirty="0" err="1"/>
              <a:t>Collum</a:t>
            </a:r>
            <a:r>
              <a:rPr lang="hu-HU" dirty="0"/>
              <a:t> / </a:t>
            </a:r>
            <a:r>
              <a:rPr lang="hu-HU" dirty="0" err="1"/>
              <a:t>Row</a:t>
            </a:r>
            <a:endParaRPr lang="en-GB" dirty="0"/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77EFED6B-0D72-455F-A4EF-41D3F6D23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36" name="Dátum helye 2">
            <a:extLst>
              <a:ext uri="{FF2B5EF4-FFF2-40B4-BE49-F238E27FC236}">
                <a16:creationId xmlns:a16="http://schemas.microsoft.com/office/drawing/2014/main" id="{EB03613F-84F7-42C0-8203-396AFB73BE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BD508C0-E897-4E6D-AA44-A960F2481A6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7" name="Dia számának helye 4">
            <a:extLst>
              <a:ext uri="{FF2B5EF4-FFF2-40B4-BE49-F238E27FC236}">
                <a16:creationId xmlns:a16="http://schemas.microsoft.com/office/drawing/2014/main" id="{6B4C50E5-8274-40BD-B025-20E7EB085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45008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zöveg helye 9">
            <a:extLst>
              <a:ext uri="{FF2B5EF4-FFF2-40B4-BE49-F238E27FC236}">
                <a16:creationId xmlns:a16="http://schemas.microsoft.com/office/drawing/2014/main" id="{2FD5E451-6B28-4EDB-A071-C6C9A50785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1820" y="867166"/>
            <a:ext cx="2257995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</a:p>
          <a:p>
            <a:pPr lvl="0"/>
            <a:r>
              <a:rPr lang="hu-HU" dirty="0" err="1"/>
              <a:t>Lussue</a:t>
            </a:r>
            <a:r>
              <a:rPr lang="hu-HU" dirty="0"/>
              <a:t> </a:t>
            </a:r>
            <a:r>
              <a:rPr lang="hu-HU" dirty="0" err="1"/>
              <a:t>dextornet</a:t>
            </a:r>
            <a:endParaRPr lang="hu-HU" dirty="0"/>
          </a:p>
        </p:txBody>
      </p:sp>
      <p:sp>
        <p:nvSpPr>
          <p:cNvPr id="14" name="Szöveg helye 9">
            <a:extLst>
              <a:ext uri="{FF2B5EF4-FFF2-40B4-BE49-F238E27FC236}">
                <a16:creationId xmlns:a16="http://schemas.microsoft.com/office/drawing/2014/main" id="{F75DFF42-83C5-4CEF-B2BA-B85529B56F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1751" y="1471361"/>
            <a:ext cx="1025155" cy="788597"/>
          </a:xfrm>
          <a:noFill/>
          <a:ln>
            <a:noFill/>
          </a:ln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5" name="Szöveg helye 9">
            <a:extLst>
              <a:ext uri="{FF2B5EF4-FFF2-40B4-BE49-F238E27FC236}">
                <a16:creationId xmlns:a16="http://schemas.microsoft.com/office/drawing/2014/main" id="{06B93B85-AF78-4854-B144-2ACD4945B1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9381" y="2345270"/>
            <a:ext cx="1021554" cy="527050"/>
          </a:xfrm>
          <a:noFill/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6" name="Szöveg helye 9">
            <a:extLst>
              <a:ext uri="{FF2B5EF4-FFF2-40B4-BE49-F238E27FC236}">
                <a16:creationId xmlns:a16="http://schemas.microsoft.com/office/drawing/2014/main" id="{993D027A-9D06-474C-99A8-51C68D16F1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7153" y="3217405"/>
            <a:ext cx="1021554" cy="527050"/>
          </a:xfrm>
          <a:noFill/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0" name="Szöveg helye 9">
            <a:extLst>
              <a:ext uri="{FF2B5EF4-FFF2-40B4-BE49-F238E27FC236}">
                <a16:creationId xmlns:a16="http://schemas.microsoft.com/office/drawing/2014/main" id="{2B664F17-A665-490D-BE2B-D3E38ABED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5561" y="1473387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3" name="Szöveg helye 9">
            <a:extLst>
              <a:ext uri="{FF2B5EF4-FFF2-40B4-BE49-F238E27FC236}">
                <a16:creationId xmlns:a16="http://schemas.microsoft.com/office/drawing/2014/main" id="{273FDFB4-4750-4DFC-8BED-CDFE1F8C98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1820" y="1473387"/>
            <a:ext cx="2257995" cy="760622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4" name="Szöveg helye 9">
            <a:extLst>
              <a:ext uri="{FF2B5EF4-FFF2-40B4-BE49-F238E27FC236}">
                <a16:creationId xmlns:a16="http://schemas.microsoft.com/office/drawing/2014/main" id="{86624BEF-0B0C-4A98-8777-B3E60686E3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1566" y="2345270"/>
            <a:ext cx="2258250" cy="76087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5" name="Szöveg helye 9">
            <a:extLst>
              <a:ext uri="{FF2B5EF4-FFF2-40B4-BE49-F238E27FC236}">
                <a16:creationId xmlns:a16="http://schemas.microsoft.com/office/drawing/2014/main" id="{2ADBC2A4-BEA1-44CA-A367-EDC9697052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21820" y="3217405"/>
            <a:ext cx="2257995" cy="775555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48" name="Egyenes összekötő 47">
            <a:extLst>
              <a:ext uri="{FF2B5EF4-FFF2-40B4-BE49-F238E27FC236}">
                <a16:creationId xmlns:a16="http://schemas.microsoft.com/office/drawing/2014/main" id="{0F3B0E64-5F83-409F-9E54-4EFB37405B53}"/>
              </a:ext>
            </a:extLst>
          </p:cNvPr>
          <p:cNvCxnSpPr>
            <a:cxnSpLocks/>
          </p:cNvCxnSpPr>
          <p:nvPr userDrawn="1"/>
        </p:nvCxnSpPr>
        <p:spPr>
          <a:xfrm>
            <a:off x="3912804" y="2286774"/>
            <a:ext cx="2268000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Egyenes összekötő 48">
            <a:extLst>
              <a:ext uri="{FF2B5EF4-FFF2-40B4-BE49-F238E27FC236}">
                <a16:creationId xmlns:a16="http://schemas.microsoft.com/office/drawing/2014/main" id="{3717019F-72A0-4B4C-BD51-2F12D8AA6B28}"/>
              </a:ext>
            </a:extLst>
          </p:cNvPr>
          <p:cNvCxnSpPr>
            <a:cxnSpLocks/>
          </p:cNvCxnSpPr>
          <p:nvPr userDrawn="1"/>
        </p:nvCxnSpPr>
        <p:spPr>
          <a:xfrm>
            <a:off x="6423805" y="2297463"/>
            <a:ext cx="2283799" cy="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Egyenes összekötő 52">
            <a:extLst>
              <a:ext uri="{FF2B5EF4-FFF2-40B4-BE49-F238E27FC236}">
                <a16:creationId xmlns:a16="http://schemas.microsoft.com/office/drawing/2014/main" id="{02C081C9-7761-4E99-923D-BB114DB62E66}"/>
              </a:ext>
            </a:extLst>
          </p:cNvPr>
          <p:cNvCxnSpPr>
            <a:cxnSpLocks/>
          </p:cNvCxnSpPr>
          <p:nvPr userDrawn="1"/>
        </p:nvCxnSpPr>
        <p:spPr>
          <a:xfrm>
            <a:off x="6423804" y="3158580"/>
            <a:ext cx="2283799" cy="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itel 1">
            <a:extLst>
              <a:ext uri="{FF2B5EF4-FFF2-40B4-BE49-F238E27FC236}">
                <a16:creationId xmlns:a16="http://schemas.microsoft.com/office/drawing/2014/main" id="{31670E7B-1794-48CE-A88D-F844B3364F78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Table</a:t>
            </a:r>
            <a:endParaRPr lang="en-GB" dirty="0"/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77EFED6B-0D72-455F-A4EF-41D3F6D23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cxnSp>
        <p:nvCxnSpPr>
          <p:cNvPr id="39" name="Egyenes összekötő 38">
            <a:extLst>
              <a:ext uri="{FF2B5EF4-FFF2-40B4-BE49-F238E27FC236}">
                <a16:creationId xmlns:a16="http://schemas.microsoft.com/office/drawing/2014/main" id="{2CB76B08-5916-4095-A5D4-ADEEBF8A3132}"/>
              </a:ext>
            </a:extLst>
          </p:cNvPr>
          <p:cNvCxnSpPr>
            <a:cxnSpLocks/>
          </p:cNvCxnSpPr>
          <p:nvPr userDrawn="1"/>
        </p:nvCxnSpPr>
        <p:spPr>
          <a:xfrm>
            <a:off x="6423803" y="4042495"/>
            <a:ext cx="2283799" cy="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Szöveg helye 9">
            <a:extLst>
              <a:ext uri="{FF2B5EF4-FFF2-40B4-BE49-F238E27FC236}">
                <a16:creationId xmlns:a16="http://schemas.microsoft.com/office/drawing/2014/main" id="{79446FD6-9848-4EE1-A0B6-FD9301A179D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552" y="4105911"/>
            <a:ext cx="1025155" cy="527050"/>
          </a:xfrm>
          <a:noFill/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3" name="Szöveg helye 9">
            <a:extLst>
              <a:ext uri="{FF2B5EF4-FFF2-40B4-BE49-F238E27FC236}">
                <a16:creationId xmlns:a16="http://schemas.microsoft.com/office/drawing/2014/main" id="{D582ED17-EDBE-4B17-AB49-8174583B58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21820" y="4105911"/>
            <a:ext cx="2257995" cy="775555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44" name="Szöveg helye 9">
            <a:extLst>
              <a:ext uri="{FF2B5EF4-FFF2-40B4-BE49-F238E27FC236}">
                <a16:creationId xmlns:a16="http://schemas.microsoft.com/office/drawing/2014/main" id="{DE118CAF-7527-4BF9-AD5E-92DBD35D93C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12805" y="870568"/>
            <a:ext cx="2257995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</a:p>
          <a:p>
            <a:pPr lvl="0"/>
            <a:r>
              <a:rPr lang="hu-HU" dirty="0" err="1"/>
              <a:t>Lussue</a:t>
            </a:r>
            <a:r>
              <a:rPr lang="hu-HU" dirty="0"/>
              <a:t> </a:t>
            </a:r>
            <a:r>
              <a:rPr lang="hu-HU" dirty="0" err="1"/>
              <a:t>dextornet</a:t>
            </a:r>
            <a:endParaRPr lang="hu-HU" dirty="0"/>
          </a:p>
        </p:txBody>
      </p:sp>
      <p:sp>
        <p:nvSpPr>
          <p:cNvPr id="45" name="Szöveg helye 9">
            <a:extLst>
              <a:ext uri="{FF2B5EF4-FFF2-40B4-BE49-F238E27FC236}">
                <a16:creationId xmlns:a16="http://schemas.microsoft.com/office/drawing/2014/main" id="{6484D513-148C-48FB-AC17-59222DFE42B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03154" y="874160"/>
            <a:ext cx="2257995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</a:p>
          <a:p>
            <a:pPr lvl="0"/>
            <a:r>
              <a:rPr lang="hu-HU" dirty="0" err="1"/>
              <a:t>Lussue</a:t>
            </a:r>
            <a:r>
              <a:rPr lang="hu-HU" dirty="0"/>
              <a:t> </a:t>
            </a:r>
            <a:r>
              <a:rPr lang="hu-HU" dirty="0" err="1"/>
              <a:t>dextornet</a:t>
            </a:r>
            <a:endParaRPr lang="hu-HU" dirty="0"/>
          </a:p>
        </p:txBody>
      </p:sp>
      <p:sp>
        <p:nvSpPr>
          <p:cNvPr id="46" name="Szöveg helye 9">
            <a:extLst>
              <a:ext uri="{FF2B5EF4-FFF2-40B4-BE49-F238E27FC236}">
                <a16:creationId xmlns:a16="http://schemas.microsoft.com/office/drawing/2014/main" id="{6731CF69-8507-4BAD-B0F8-5C5A4891794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45564" y="2335572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50" name="Egyenes összekötő 49">
            <a:extLst>
              <a:ext uri="{FF2B5EF4-FFF2-40B4-BE49-F238E27FC236}">
                <a16:creationId xmlns:a16="http://schemas.microsoft.com/office/drawing/2014/main" id="{8CA6D19B-033E-436A-95E6-6891C56D8BD6}"/>
              </a:ext>
            </a:extLst>
          </p:cNvPr>
          <p:cNvCxnSpPr>
            <a:cxnSpLocks/>
          </p:cNvCxnSpPr>
          <p:nvPr userDrawn="1"/>
        </p:nvCxnSpPr>
        <p:spPr>
          <a:xfrm>
            <a:off x="3935561" y="3158653"/>
            <a:ext cx="2268000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Szöveg helye 9">
            <a:extLst>
              <a:ext uri="{FF2B5EF4-FFF2-40B4-BE49-F238E27FC236}">
                <a16:creationId xmlns:a16="http://schemas.microsoft.com/office/drawing/2014/main" id="{77245778-71EA-4F75-9196-02474F9E93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935561" y="3223577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56" name="Egyenes összekötő 55">
            <a:extLst>
              <a:ext uri="{FF2B5EF4-FFF2-40B4-BE49-F238E27FC236}">
                <a16:creationId xmlns:a16="http://schemas.microsoft.com/office/drawing/2014/main" id="{E2B95C88-31CA-4FE6-983A-AD8260B75CAD}"/>
              </a:ext>
            </a:extLst>
          </p:cNvPr>
          <p:cNvCxnSpPr>
            <a:cxnSpLocks/>
          </p:cNvCxnSpPr>
          <p:nvPr userDrawn="1"/>
        </p:nvCxnSpPr>
        <p:spPr>
          <a:xfrm>
            <a:off x="3929184" y="4046592"/>
            <a:ext cx="2268000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Szöveg helye 9">
            <a:extLst>
              <a:ext uri="{FF2B5EF4-FFF2-40B4-BE49-F238E27FC236}">
                <a16:creationId xmlns:a16="http://schemas.microsoft.com/office/drawing/2014/main" id="{A5BACFB0-4C38-46C4-9B72-963D59A61CA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35561" y="4112083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58" name="Szöveg helye 9">
            <a:extLst>
              <a:ext uri="{FF2B5EF4-FFF2-40B4-BE49-F238E27FC236}">
                <a16:creationId xmlns:a16="http://schemas.microsoft.com/office/drawing/2014/main" id="{F382A8E3-66BF-4530-879B-877B42B550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91464" y="1473387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59" name="Egyenes összekötő 58">
            <a:extLst>
              <a:ext uri="{FF2B5EF4-FFF2-40B4-BE49-F238E27FC236}">
                <a16:creationId xmlns:a16="http://schemas.microsoft.com/office/drawing/2014/main" id="{CE400F6F-1A8D-4C47-95AF-F4E17C60DF89}"/>
              </a:ext>
            </a:extLst>
          </p:cNvPr>
          <p:cNvCxnSpPr>
            <a:cxnSpLocks/>
          </p:cNvCxnSpPr>
          <p:nvPr userDrawn="1"/>
        </p:nvCxnSpPr>
        <p:spPr>
          <a:xfrm>
            <a:off x="1368707" y="2286774"/>
            <a:ext cx="2268000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Szöveg helye 9">
            <a:extLst>
              <a:ext uri="{FF2B5EF4-FFF2-40B4-BE49-F238E27FC236}">
                <a16:creationId xmlns:a16="http://schemas.microsoft.com/office/drawing/2014/main" id="{228904CB-02A8-4A38-AE83-C7F2BC0954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401467" y="2335572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61" name="Egyenes összekötő 60">
            <a:extLst>
              <a:ext uri="{FF2B5EF4-FFF2-40B4-BE49-F238E27FC236}">
                <a16:creationId xmlns:a16="http://schemas.microsoft.com/office/drawing/2014/main" id="{8E484C73-FF90-4F1D-8AF7-3610E13CB849}"/>
              </a:ext>
            </a:extLst>
          </p:cNvPr>
          <p:cNvCxnSpPr>
            <a:cxnSpLocks/>
          </p:cNvCxnSpPr>
          <p:nvPr userDrawn="1"/>
        </p:nvCxnSpPr>
        <p:spPr>
          <a:xfrm>
            <a:off x="1391464" y="3158653"/>
            <a:ext cx="2268000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Szöveg helye 9">
            <a:extLst>
              <a:ext uri="{FF2B5EF4-FFF2-40B4-BE49-F238E27FC236}">
                <a16:creationId xmlns:a16="http://schemas.microsoft.com/office/drawing/2014/main" id="{26378237-115D-49C4-801F-D92A251FA88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91464" y="3223577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63" name="Egyenes összekötő 62">
            <a:extLst>
              <a:ext uri="{FF2B5EF4-FFF2-40B4-BE49-F238E27FC236}">
                <a16:creationId xmlns:a16="http://schemas.microsoft.com/office/drawing/2014/main" id="{2163A99C-ABF5-4EF1-AADD-C55A7071267A}"/>
              </a:ext>
            </a:extLst>
          </p:cNvPr>
          <p:cNvCxnSpPr>
            <a:cxnSpLocks/>
          </p:cNvCxnSpPr>
          <p:nvPr userDrawn="1"/>
        </p:nvCxnSpPr>
        <p:spPr>
          <a:xfrm>
            <a:off x="1385087" y="4046592"/>
            <a:ext cx="2268000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Szöveg helye 9">
            <a:extLst>
              <a:ext uri="{FF2B5EF4-FFF2-40B4-BE49-F238E27FC236}">
                <a16:creationId xmlns:a16="http://schemas.microsoft.com/office/drawing/2014/main" id="{41CEDD0A-6AE5-475E-AEE5-300A1073198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391464" y="4112083"/>
            <a:ext cx="2235240" cy="769383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88425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teering Committee mee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églalap 21">
            <a:extLst>
              <a:ext uri="{FF2B5EF4-FFF2-40B4-BE49-F238E27FC236}">
                <a16:creationId xmlns:a16="http://schemas.microsoft.com/office/drawing/2014/main" id="{CE41654A-D496-47AC-9561-C83BDAEBA6D0}"/>
              </a:ext>
            </a:extLst>
          </p:cNvPr>
          <p:cNvSpPr/>
          <p:nvPr userDrawn="1"/>
        </p:nvSpPr>
        <p:spPr>
          <a:xfrm>
            <a:off x="1399425" y="3322167"/>
            <a:ext cx="5473359" cy="470372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A6F49462-1B89-4208-AD98-F03A2A19AD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Agenda </a:t>
            </a:r>
            <a:r>
              <a:rPr lang="hu-HU" dirty="0" err="1"/>
              <a:t>Steering</a:t>
            </a:r>
            <a:br>
              <a:rPr lang="hu-HU" dirty="0"/>
            </a:br>
            <a:r>
              <a:rPr lang="hu-HU" dirty="0" err="1"/>
              <a:t>Committee</a:t>
            </a:r>
            <a:r>
              <a:rPr lang="hu-HU" dirty="0"/>
              <a:t> </a:t>
            </a:r>
            <a:r>
              <a:rPr lang="hu-HU" dirty="0" err="1"/>
              <a:t>meeting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370962C4-78F6-4DE8-A104-E89B89FAC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6F69F-8F93-4980-B95D-E0BD215EF95F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35EF3D3-B456-4037-93A3-F149A4A93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6CE685C1-77BE-4917-8217-F3CC6FEB8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Nyíl: ötszög 16">
            <a:extLst>
              <a:ext uri="{FF2B5EF4-FFF2-40B4-BE49-F238E27FC236}">
                <a16:creationId xmlns:a16="http://schemas.microsoft.com/office/drawing/2014/main" id="{32DBC184-D4D5-4FAB-8E68-B8D8BAE6A778}"/>
              </a:ext>
            </a:extLst>
          </p:cNvPr>
          <p:cNvSpPr/>
          <p:nvPr userDrawn="1"/>
        </p:nvSpPr>
        <p:spPr>
          <a:xfrm>
            <a:off x="3" y="1654192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F362CEEA-1CD7-4CB7-99CB-32630B912CAD}"/>
              </a:ext>
            </a:extLst>
          </p:cNvPr>
          <p:cNvSpPr/>
          <p:nvPr userDrawn="1"/>
        </p:nvSpPr>
        <p:spPr>
          <a:xfrm>
            <a:off x="3" y="2210383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B26FCBCC-14EC-48B3-B485-8A4127402B6D}"/>
              </a:ext>
            </a:extLst>
          </p:cNvPr>
          <p:cNvSpPr/>
          <p:nvPr userDrawn="1"/>
        </p:nvSpPr>
        <p:spPr>
          <a:xfrm>
            <a:off x="2" y="2766574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0" name="Nyíl: ötszög 19">
            <a:extLst>
              <a:ext uri="{FF2B5EF4-FFF2-40B4-BE49-F238E27FC236}">
                <a16:creationId xmlns:a16="http://schemas.microsoft.com/office/drawing/2014/main" id="{CBA7AFEF-71CB-4CDB-8998-9B017C982AA3}"/>
              </a:ext>
            </a:extLst>
          </p:cNvPr>
          <p:cNvSpPr/>
          <p:nvPr userDrawn="1"/>
        </p:nvSpPr>
        <p:spPr>
          <a:xfrm>
            <a:off x="1213" y="3322167"/>
            <a:ext cx="1542335" cy="470969"/>
          </a:xfrm>
          <a:prstGeom prst="homePlate">
            <a:avLst>
              <a:gd name="adj" fmla="val 30374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1" name="Nyíl: ötszög 20">
            <a:extLst>
              <a:ext uri="{FF2B5EF4-FFF2-40B4-BE49-F238E27FC236}">
                <a16:creationId xmlns:a16="http://schemas.microsoft.com/office/drawing/2014/main" id="{CB368AB5-FAE9-4FAB-B968-E06C30290C42}"/>
              </a:ext>
            </a:extLst>
          </p:cNvPr>
          <p:cNvSpPr/>
          <p:nvPr userDrawn="1"/>
        </p:nvSpPr>
        <p:spPr>
          <a:xfrm>
            <a:off x="0" y="3878956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3" name="Téglalap 22">
            <a:extLst>
              <a:ext uri="{FF2B5EF4-FFF2-40B4-BE49-F238E27FC236}">
                <a16:creationId xmlns:a16="http://schemas.microsoft.com/office/drawing/2014/main" id="{5C3D0C29-1FF8-4809-998F-FA308A5BE5B4}"/>
              </a:ext>
            </a:extLst>
          </p:cNvPr>
          <p:cNvSpPr/>
          <p:nvPr userDrawn="1"/>
        </p:nvSpPr>
        <p:spPr>
          <a:xfrm>
            <a:off x="6872784" y="3322765"/>
            <a:ext cx="1608455" cy="4703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1F4F0BA8-A44E-424A-9524-EF96B506C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54193"/>
            <a:ext cx="1397000" cy="470371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DE62D859-EF43-46D3-887A-319DA03036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" y="2210383"/>
            <a:ext cx="1397000" cy="468539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18591C8D-FE99-4F92-A7E1-795EFA7831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13" y="2769016"/>
            <a:ext cx="1397000" cy="456657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AD6F66CA-F908-4418-8DDB-E5868EA9A8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25" y="3319724"/>
            <a:ext cx="1397000" cy="473411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7CDBC81D-E973-4DBD-A9F0-FC17DF0466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878956"/>
            <a:ext cx="1397000" cy="46624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2" name="Szöveg helye 26">
            <a:extLst>
              <a:ext uri="{FF2B5EF4-FFF2-40B4-BE49-F238E27FC236}">
                <a16:creationId xmlns:a16="http://schemas.microsoft.com/office/drawing/2014/main" id="{C874162E-11BB-463E-996A-37FD69B436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5636" y="3322765"/>
            <a:ext cx="5097148" cy="470371"/>
          </a:xfr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4" name="Szöveg helye 26">
            <a:extLst>
              <a:ext uri="{FF2B5EF4-FFF2-40B4-BE49-F238E27FC236}">
                <a16:creationId xmlns:a16="http://schemas.microsoft.com/office/drawing/2014/main" id="{24995EA3-E886-49AD-8326-FFE6A4F4A8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57545" y="3322764"/>
            <a:ext cx="1608455" cy="463495"/>
          </a:xfrm>
        </p:spPr>
        <p:txBody>
          <a:bodyPr lIns="180000" anchor="ctr"/>
          <a:lstStyle>
            <a:lvl1pPr algn="l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5" name="Szöveg helye 26">
            <a:extLst>
              <a:ext uri="{FF2B5EF4-FFF2-40B4-BE49-F238E27FC236}">
                <a16:creationId xmlns:a16="http://schemas.microsoft.com/office/drawing/2014/main" id="{4CA0DF05-AFC7-4FCF-93B2-D6A46769F1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5636" y="2763828"/>
            <a:ext cx="4991334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D4B391A2-F45D-444B-9D03-AF9E80C030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75636" y="2208551"/>
            <a:ext cx="4991334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F5E2CC60-6507-4E64-84FD-E55B252E89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75636" y="1654192"/>
            <a:ext cx="4991334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38" name="Szöveg helye 26">
            <a:extLst>
              <a:ext uri="{FF2B5EF4-FFF2-40B4-BE49-F238E27FC236}">
                <a16:creationId xmlns:a16="http://schemas.microsoft.com/office/drawing/2014/main" id="{79E7FC94-55F0-4504-BFBD-E4F7AD6C7F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75636" y="3874824"/>
            <a:ext cx="4991334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</p:spTree>
    <p:extLst>
      <p:ext uri="{BB962C8B-B14F-4D97-AF65-F5344CB8AC3E}">
        <p14:creationId xmlns:p14="http://schemas.microsoft.com/office/powerpoint/2010/main" val="17047800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llum / Row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9">
            <a:extLst>
              <a:ext uri="{FF2B5EF4-FFF2-40B4-BE49-F238E27FC236}">
                <a16:creationId xmlns:a16="http://schemas.microsoft.com/office/drawing/2014/main" id="{4223BE3B-97D7-4CFA-A95F-C9C9C0B40E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01988" y="1437308"/>
            <a:ext cx="1423988" cy="527050"/>
          </a:xfrm>
          <a:solidFill>
            <a:srgbClr val="5CC1CB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1" name="Szöveg helye 9">
            <a:extLst>
              <a:ext uri="{FF2B5EF4-FFF2-40B4-BE49-F238E27FC236}">
                <a16:creationId xmlns:a16="http://schemas.microsoft.com/office/drawing/2014/main" id="{53A9EE97-BD37-420A-B7FB-D4347CB9BD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3613" y="1437149"/>
            <a:ext cx="1423988" cy="527050"/>
          </a:xfrm>
          <a:solidFill>
            <a:srgbClr val="5CC1CB"/>
          </a:solidFill>
        </p:spPr>
        <p:txBody>
          <a:bodyPr anchor="ctr"/>
          <a:lstStyle>
            <a:lvl1pPr marL="0" indent="87313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endParaRPr lang="hu-HU" dirty="0"/>
          </a:p>
        </p:txBody>
      </p:sp>
      <p:sp>
        <p:nvSpPr>
          <p:cNvPr id="12" name="Szöveg helye 9">
            <a:extLst>
              <a:ext uri="{FF2B5EF4-FFF2-40B4-BE49-F238E27FC236}">
                <a16:creationId xmlns:a16="http://schemas.microsoft.com/office/drawing/2014/main" id="{2FD5E451-6B28-4EDB-A071-C6C9A50785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5238" y="1438570"/>
            <a:ext cx="1423988" cy="527050"/>
          </a:xfrm>
          <a:solidFill>
            <a:srgbClr val="5CC1CB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</a:p>
          <a:p>
            <a:pPr lvl="0"/>
            <a:r>
              <a:rPr lang="hu-HU" dirty="0" err="1"/>
              <a:t>Lussue</a:t>
            </a:r>
            <a:r>
              <a:rPr lang="hu-HU" dirty="0"/>
              <a:t> </a:t>
            </a:r>
            <a:r>
              <a:rPr lang="hu-HU" dirty="0" err="1"/>
              <a:t>dextornet</a:t>
            </a:r>
            <a:endParaRPr lang="hu-HU" dirty="0"/>
          </a:p>
        </p:txBody>
      </p:sp>
      <p:sp>
        <p:nvSpPr>
          <p:cNvPr id="13" name="Szöveg helye 9">
            <a:extLst>
              <a:ext uri="{FF2B5EF4-FFF2-40B4-BE49-F238E27FC236}">
                <a16:creationId xmlns:a16="http://schemas.microsoft.com/office/drawing/2014/main" id="{CD99BD0C-4725-480C-AFC1-4A328A1972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26863" y="1438570"/>
            <a:ext cx="1797724" cy="527050"/>
          </a:xfrm>
          <a:solidFill>
            <a:srgbClr val="5CC1CB"/>
          </a:solidFill>
        </p:spPr>
        <p:txBody>
          <a:bodyPr anchor="ctr"/>
          <a:lstStyle>
            <a:lvl1pPr marL="0" indent="87313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endParaRPr lang="hu-HU" dirty="0"/>
          </a:p>
        </p:txBody>
      </p:sp>
      <p:sp>
        <p:nvSpPr>
          <p:cNvPr id="14" name="Szöveg helye 9">
            <a:extLst>
              <a:ext uri="{FF2B5EF4-FFF2-40B4-BE49-F238E27FC236}">
                <a16:creationId xmlns:a16="http://schemas.microsoft.com/office/drawing/2014/main" id="{F75DFF42-83C5-4CEF-B2BA-B85529B56F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0215" y="1974811"/>
            <a:ext cx="1423988" cy="527050"/>
          </a:xfrm>
          <a:noFill/>
          <a:ln>
            <a:noFill/>
          </a:ln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6" name="Szöveg helye 9">
            <a:extLst>
              <a:ext uri="{FF2B5EF4-FFF2-40B4-BE49-F238E27FC236}">
                <a16:creationId xmlns:a16="http://schemas.microsoft.com/office/drawing/2014/main" id="{993D027A-9D06-474C-99A8-51C68D16F1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8000" y="3839616"/>
            <a:ext cx="1423988" cy="527050"/>
          </a:xfrm>
          <a:noFill/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7" name="Szöveg helye 9">
            <a:extLst>
              <a:ext uri="{FF2B5EF4-FFF2-40B4-BE49-F238E27FC236}">
                <a16:creationId xmlns:a16="http://schemas.microsoft.com/office/drawing/2014/main" id="{A07BC514-FA8C-4656-9ED0-A66D390F29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01988" y="1974811"/>
            <a:ext cx="1423988" cy="751431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8" name="Szöveg helye 9">
            <a:extLst>
              <a:ext uri="{FF2B5EF4-FFF2-40B4-BE49-F238E27FC236}">
                <a16:creationId xmlns:a16="http://schemas.microsoft.com/office/drawing/2014/main" id="{3F4B1B77-5713-45F6-8F30-7A1620FAB5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01986" y="2904525"/>
            <a:ext cx="1423990" cy="760873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179387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endParaRPr lang="hu-HU" dirty="0"/>
          </a:p>
          <a:p>
            <a:pPr lvl="2"/>
            <a:endParaRPr lang="hu-HU" dirty="0"/>
          </a:p>
        </p:txBody>
      </p:sp>
      <p:sp>
        <p:nvSpPr>
          <p:cNvPr id="19" name="Szöveg helye 9">
            <a:extLst>
              <a:ext uri="{FF2B5EF4-FFF2-40B4-BE49-F238E27FC236}">
                <a16:creationId xmlns:a16="http://schemas.microsoft.com/office/drawing/2014/main" id="{E1FD8DF3-44D9-4629-B88F-75E3EFA11A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4203" y="3837184"/>
            <a:ext cx="1421776" cy="778003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1" name="Szöveg helye 9">
            <a:extLst>
              <a:ext uri="{FF2B5EF4-FFF2-40B4-BE49-F238E27FC236}">
                <a16:creationId xmlns:a16="http://schemas.microsoft.com/office/drawing/2014/main" id="{A26BEAA1-EFA8-4070-BC84-140F7C3836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62940" y="2905917"/>
            <a:ext cx="1404662" cy="760873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3" name="Szöveg helye 9">
            <a:extLst>
              <a:ext uri="{FF2B5EF4-FFF2-40B4-BE49-F238E27FC236}">
                <a16:creationId xmlns:a16="http://schemas.microsoft.com/office/drawing/2014/main" id="{273FDFB4-4750-4DFC-8BED-CDFE1F8C98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85239" y="1965621"/>
            <a:ext cx="1423988" cy="760622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4" name="Szöveg helye 9">
            <a:extLst>
              <a:ext uri="{FF2B5EF4-FFF2-40B4-BE49-F238E27FC236}">
                <a16:creationId xmlns:a16="http://schemas.microsoft.com/office/drawing/2014/main" id="{86624BEF-0B0C-4A98-8777-B3E60686E3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85238" y="2905917"/>
            <a:ext cx="1423989" cy="76087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5" name="Szöveg helye 9">
            <a:extLst>
              <a:ext uri="{FF2B5EF4-FFF2-40B4-BE49-F238E27FC236}">
                <a16:creationId xmlns:a16="http://schemas.microsoft.com/office/drawing/2014/main" id="{2ADBC2A4-BEA1-44CA-A367-EDC9697052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85239" y="3839633"/>
            <a:ext cx="1423988" cy="775555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6" name="Szöveg helye 9">
            <a:extLst>
              <a:ext uri="{FF2B5EF4-FFF2-40B4-BE49-F238E27FC236}">
                <a16:creationId xmlns:a16="http://schemas.microsoft.com/office/drawing/2014/main" id="{087B891A-EDD1-443D-A046-12B900F30FD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6863" y="1961791"/>
            <a:ext cx="1797724" cy="764451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7" name="Szöveg helye 9">
            <a:extLst>
              <a:ext uri="{FF2B5EF4-FFF2-40B4-BE49-F238E27FC236}">
                <a16:creationId xmlns:a16="http://schemas.microsoft.com/office/drawing/2014/main" id="{1A124539-5390-4244-AB2E-BC82ADAE28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26862" y="2905918"/>
            <a:ext cx="1797725" cy="76087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8" name="Szöveg helye 9">
            <a:extLst>
              <a:ext uri="{FF2B5EF4-FFF2-40B4-BE49-F238E27FC236}">
                <a16:creationId xmlns:a16="http://schemas.microsoft.com/office/drawing/2014/main" id="{D19DB94E-B71A-4ACE-BC25-75A8A0F1E80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26861" y="3840956"/>
            <a:ext cx="1797726" cy="774232"/>
          </a:xfrm>
          <a:noFill/>
        </p:spPr>
        <p:txBody>
          <a:bodyPr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358775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46088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35" name="Egyenes összekötő 34">
            <a:extLst>
              <a:ext uri="{FF2B5EF4-FFF2-40B4-BE49-F238E27FC236}">
                <a16:creationId xmlns:a16="http://schemas.microsoft.com/office/drawing/2014/main" id="{1F4039D1-76B8-41E6-A5EE-5FECD79D93AD}"/>
              </a:ext>
            </a:extLst>
          </p:cNvPr>
          <p:cNvCxnSpPr>
            <a:cxnSpLocks/>
          </p:cNvCxnSpPr>
          <p:nvPr userDrawn="1"/>
        </p:nvCxnSpPr>
        <p:spPr>
          <a:xfrm>
            <a:off x="6726863" y="2819255"/>
            <a:ext cx="1798012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Egyenes összekötő 46">
            <a:extLst>
              <a:ext uri="{FF2B5EF4-FFF2-40B4-BE49-F238E27FC236}">
                <a16:creationId xmlns:a16="http://schemas.microsoft.com/office/drawing/2014/main" id="{264654F4-67C8-4B14-B03E-656EB6CEE9C1}"/>
              </a:ext>
            </a:extLst>
          </p:cNvPr>
          <p:cNvCxnSpPr>
            <a:cxnSpLocks/>
          </p:cNvCxnSpPr>
          <p:nvPr userDrawn="1"/>
        </p:nvCxnSpPr>
        <p:spPr>
          <a:xfrm flipV="1">
            <a:off x="1804988" y="2819255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Egyenes összekötő 47">
            <a:extLst>
              <a:ext uri="{FF2B5EF4-FFF2-40B4-BE49-F238E27FC236}">
                <a16:creationId xmlns:a16="http://schemas.microsoft.com/office/drawing/2014/main" id="{0F3B0E64-5F83-409F-9E54-4EFB37405B53}"/>
              </a:ext>
            </a:extLst>
          </p:cNvPr>
          <p:cNvCxnSpPr>
            <a:cxnSpLocks/>
          </p:cNvCxnSpPr>
          <p:nvPr userDrawn="1"/>
        </p:nvCxnSpPr>
        <p:spPr>
          <a:xfrm>
            <a:off x="3466167" y="2819401"/>
            <a:ext cx="1404663" cy="111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Egyenes összekötő 48">
            <a:extLst>
              <a:ext uri="{FF2B5EF4-FFF2-40B4-BE49-F238E27FC236}">
                <a16:creationId xmlns:a16="http://schemas.microsoft.com/office/drawing/2014/main" id="{3717019F-72A0-4B4C-BD51-2F12D8AA6B28}"/>
              </a:ext>
            </a:extLst>
          </p:cNvPr>
          <p:cNvCxnSpPr/>
          <p:nvPr userDrawn="1"/>
        </p:nvCxnSpPr>
        <p:spPr>
          <a:xfrm flipV="1">
            <a:off x="5085238" y="2820372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852B829A-6885-46E3-AAFB-0E4B6B3A3661}"/>
              </a:ext>
            </a:extLst>
          </p:cNvPr>
          <p:cNvCxnSpPr/>
          <p:nvPr userDrawn="1"/>
        </p:nvCxnSpPr>
        <p:spPr>
          <a:xfrm flipV="1">
            <a:off x="1821657" y="3751914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Egyenes összekötő 53">
            <a:extLst>
              <a:ext uri="{FF2B5EF4-FFF2-40B4-BE49-F238E27FC236}">
                <a16:creationId xmlns:a16="http://schemas.microsoft.com/office/drawing/2014/main" id="{130012C7-2A85-463B-A33C-DBFE7799885D}"/>
              </a:ext>
            </a:extLst>
          </p:cNvPr>
          <p:cNvCxnSpPr>
            <a:cxnSpLocks/>
          </p:cNvCxnSpPr>
          <p:nvPr userDrawn="1"/>
        </p:nvCxnSpPr>
        <p:spPr>
          <a:xfrm>
            <a:off x="6726575" y="3746787"/>
            <a:ext cx="1798012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Szöveg helye 9">
            <a:extLst>
              <a:ext uri="{FF2B5EF4-FFF2-40B4-BE49-F238E27FC236}">
                <a16:creationId xmlns:a16="http://schemas.microsoft.com/office/drawing/2014/main" id="{99D0391D-2F1A-4D2E-BC7B-1D3C874FC0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600" y="2904208"/>
            <a:ext cx="1423988" cy="527050"/>
          </a:xfrm>
          <a:noFill/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37" name="Szöveg helye 9">
            <a:extLst>
              <a:ext uri="{FF2B5EF4-FFF2-40B4-BE49-F238E27FC236}">
                <a16:creationId xmlns:a16="http://schemas.microsoft.com/office/drawing/2014/main" id="{9E50A7B0-4589-4C99-9464-3AAA71A5AE5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66167" y="3837184"/>
            <a:ext cx="1401436" cy="778004"/>
          </a:xfrm>
          <a:noFill/>
        </p:spPr>
        <p:txBody>
          <a:bodyPr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38" name="Szöveg helye 9">
            <a:extLst>
              <a:ext uri="{FF2B5EF4-FFF2-40B4-BE49-F238E27FC236}">
                <a16:creationId xmlns:a16="http://schemas.microsoft.com/office/drawing/2014/main" id="{C3341152-FD4B-4EE8-9E31-E995563B4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66167" y="1976233"/>
            <a:ext cx="1404663" cy="750009"/>
          </a:xfrm>
          <a:noFill/>
        </p:spPr>
        <p:txBody>
          <a:bodyPr anchor="t"/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41" name="Egyenes összekötő 40">
            <a:extLst>
              <a:ext uri="{FF2B5EF4-FFF2-40B4-BE49-F238E27FC236}">
                <a16:creationId xmlns:a16="http://schemas.microsoft.com/office/drawing/2014/main" id="{9EB0526E-9CBB-41A3-BDAE-0C06771BBE86}"/>
              </a:ext>
            </a:extLst>
          </p:cNvPr>
          <p:cNvCxnSpPr/>
          <p:nvPr userDrawn="1"/>
        </p:nvCxnSpPr>
        <p:spPr>
          <a:xfrm flipV="1">
            <a:off x="3466167" y="3746933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Egyenes összekötő 41">
            <a:extLst>
              <a:ext uri="{FF2B5EF4-FFF2-40B4-BE49-F238E27FC236}">
                <a16:creationId xmlns:a16="http://schemas.microsoft.com/office/drawing/2014/main" id="{8156CAA5-3B1D-474D-B42C-41B681E09E39}"/>
              </a:ext>
            </a:extLst>
          </p:cNvPr>
          <p:cNvCxnSpPr/>
          <p:nvPr userDrawn="1"/>
        </p:nvCxnSpPr>
        <p:spPr>
          <a:xfrm flipV="1">
            <a:off x="5085237" y="3745962"/>
            <a:ext cx="1420991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Fußzeilenplatzhalter 6">
            <a:extLst>
              <a:ext uri="{FF2B5EF4-FFF2-40B4-BE49-F238E27FC236}">
                <a16:creationId xmlns:a16="http://schemas.microsoft.com/office/drawing/2014/main" id="{CA524EFA-C821-4D38-86EE-E976071E1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E31D2826-5DE6-4D3A-9A18-A1A79A726FA9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ext </a:t>
            </a:r>
            <a:r>
              <a:rPr lang="hu-HU" dirty="0" err="1"/>
              <a:t>Collum</a:t>
            </a:r>
            <a:r>
              <a:rPr lang="hu-HU" dirty="0"/>
              <a:t> / </a:t>
            </a:r>
            <a:r>
              <a:rPr lang="hu-HU" dirty="0" err="1"/>
              <a:t>Row</a:t>
            </a:r>
            <a:endParaRPr lang="en-GB" dirty="0"/>
          </a:p>
        </p:txBody>
      </p:sp>
      <p:sp>
        <p:nvSpPr>
          <p:cNvPr id="33" name="Dátum helye 2">
            <a:extLst>
              <a:ext uri="{FF2B5EF4-FFF2-40B4-BE49-F238E27FC236}">
                <a16:creationId xmlns:a16="http://schemas.microsoft.com/office/drawing/2014/main" id="{049C4E2E-C207-4DA1-B28F-085F4B87D3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FAF9F6C6-3373-4F2E-A556-3BAE0F84A45D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4" name="Dia számának helye 4">
            <a:extLst>
              <a:ext uri="{FF2B5EF4-FFF2-40B4-BE49-F238E27FC236}">
                <a16:creationId xmlns:a16="http://schemas.microsoft.com/office/drawing/2014/main" id="{1230698A-E124-4342-B9F5-9C41DC0BC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1912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Summ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zöveg helye 10">
            <a:extLst>
              <a:ext uri="{FF2B5EF4-FFF2-40B4-BE49-F238E27FC236}">
                <a16:creationId xmlns:a16="http://schemas.microsoft.com/office/drawing/2014/main" id="{FB747FF2-D35A-4124-8B3E-B7547876EF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04963"/>
            <a:ext cx="2882900" cy="3538537"/>
          </a:xfrm>
          <a:solidFill>
            <a:srgbClr val="EA1C0A"/>
          </a:solidFill>
        </p:spPr>
        <p:txBody>
          <a:bodyPr tIns="180000" rIns="720000"/>
          <a:lstStyle>
            <a:lvl1pPr marL="0" indent="358775"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defRPr sz="20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4" name="Szöveg helye 10">
            <a:extLst>
              <a:ext uri="{FF2B5EF4-FFF2-40B4-BE49-F238E27FC236}">
                <a16:creationId xmlns:a16="http://schemas.microsoft.com/office/drawing/2014/main" id="{515BF8F8-F43D-4A41-A050-9C7D1EEAE6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2900" y="1604962"/>
            <a:ext cx="6261100" cy="3538537"/>
          </a:xfrm>
          <a:solidFill>
            <a:srgbClr val="5CC1CB"/>
          </a:solidFill>
        </p:spPr>
        <p:txBody>
          <a:bodyPr tIns="180000"/>
          <a:lstStyle>
            <a:lvl1pPr marL="446088" indent="-176213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3pPr marL="539750" indent="-180975">
              <a:defRPr>
                <a:solidFill>
                  <a:schemeClr val="bg1"/>
                </a:solidFill>
              </a:defRPr>
            </a:lvl3pPr>
            <a:lvl4pPr marL="539750" indent="177800"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2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3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3"/>
            <a:endParaRPr lang="hu-HU" dirty="0"/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2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  <a:r>
              <a:rPr lang="hu-HU" dirty="0" err="1"/>
              <a:t>consetetur</a:t>
            </a:r>
            <a:endParaRPr lang="hu-HU" dirty="0"/>
          </a:p>
          <a:p>
            <a:pPr lvl="3"/>
            <a:r>
              <a:rPr lang="hu-HU" dirty="0" err="1"/>
              <a:t>Bh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3"/>
            <a:endParaRPr lang="hu-HU" dirty="0"/>
          </a:p>
          <a:p>
            <a:pPr lvl="3"/>
            <a:endParaRPr lang="hu-HU" dirty="0"/>
          </a:p>
          <a:p>
            <a:pPr lvl="3"/>
            <a:endParaRPr lang="hu-HU" dirty="0"/>
          </a:p>
          <a:p>
            <a:pPr lvl="0"/>
            <a:endParaRPr lang="hu-HU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8D2AE23-C972-4A12-A4F8-F77DE7986A23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Management </a:t>
            </a:r>
            <a:r>
              <a:rPr lang="hu-HU" dirty="0" err="1"/>
              <a:t>Summery</a:t>
            </a:r>
            <a:endParaRPr lang="en-GB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3CC379E2-3D28-4C77-9D96-32F12BB2B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0" name="Dátum helye 2">
            <a:extLst>
              <a:ext uri="{FF2B5EF4-FFF2-40B4-BE49-F238E27FC236}">
                <a16:creationId xmlns:a16="http://schemas.microsoft.com/office/drawing/2014/main" id="{4B6FA546-59B1-45FA-AFE3-1A9E37F444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B9CB345-BB64-4299-905E-78E25FCE371D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2" name="Dia számának helye 4">
            <a:extLst>
              <a:ext uri="{FF2B5EF4-FFF2-40B4-BE49-F238E27FC236}">
                <a16:creationId xmlns:a16="http://schemas.microsoft.com/office/drawing/2014/main" id="{539075C3-FECF-4DDD-BDC2-08B490A9048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11536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uation / Complication /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églalap 16">
            <a:extLst>
              <a:ext uri="{FF2B5EF4-FFF2-40B4-BE49-F238E27FC236}">
                <a16:creationId xmlns:a16="http://schemas.microsoft.com/office/drawing/2014/main" id="{A1DA6900-47E0-4C34-BB4D-DDE29B7979A2}"/>
              </a:ext>
            </a:extLst>
          </p:cNvPr>
          <p:cNvSpPr/>
          <p:nvPr userDrawn="1"/>
        </p:nvSpPr>
        <p:spPr>
          <a:xfrm>
            <a:off x="4186499" y="1808018"/>
            <a:ext cx="4957501" cy="3335482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00EFAFF5-21A8-4CEA-A5BE-96553F98A02F}"/>
              </a:ext>
            </a:extLst>
          </p:cNvPr>
          <p:cNvSpPr/>
          <p:nvPr userDrawn="1"/>
        </p:nvSpPr>
        <p:spPr>
          <a:xfrm>
            <a:off x="1950026" y="1808018"/>
            <a:ext cx="3120737" cy="3335482"/>
          </a:xfrm>
          <a:prstGeom prst="homePlate">
            <a:avLst>
              <a:gd name="adj" fmla="val 21342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A5587782-6CB4-431D-8E51-08B0BDEB166B}"/>
              </a:ext>
            </a:extLst>
          </p:cNvPr>
          <p:cNvSpPr/>
          <p:nvPr userDrawn="1"/>
        </p:nvSpPr>
        <p:spPr>
          <a:xfrm>
            <a:off x="0" y="1808018"/>
            <a:ext cx="2499013" cy="3335482"/>
          </a:xfrm>
          <a:prstGeom prst="homePlate">
            <a:avLst>
              <a:gd name="adj" fmla="val 21342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Szöveg helye 20">
            <a:extLst>
              <a:ext uri="{FF2B5EF4-FFF2-40B4-BE49-F238E27FC236}">
                <a16:creationId xmlns:a16="http://schemas.microsoft.com/office/drawing/2014/main" id="{4765C32A-972C-4AC9-A891-896C2135AC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7" y="1808018"/>
            <a:ext cx="1876425" cy="2005445"/>
          </a:xfrm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Situation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22" name="Szöveg helye 20">
            <a:extLst>
              <a:ext uri="{FF2B5EF4-FFF2-40B4-BE49-F238E27FC236}">
                <a16:creationId xmlns:a16="http://schemas.microsoft.com/office/drawing/2014/main" id="{F5224206-5762-4C5B-8CC5-D1FBE50926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6110" y="1808018"/>
            <a:ext cx="1876425" cy="2005445"/>
          </a:xfrm>
        </p:spPr>
        <p:txBody>
          <a:bodyPr tIns="18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omplication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  <a:p>
            <a:pPr lvl="0"/>
            <a:endParaRPr lang="hu-HU" dirty="0"/>
          </a:p>
        </p:txBody>
      </p:sp>
      <p:sp>
        <p:nvSpPr>
          <p:cNvPr id="23" name="Szöveg helye 20">
            <a:extLst>
              <a:ext uri="{FF2B5EF4-FFF2-40B4-BE49-F238E27FC236}">
                <a16:creationId xmlns:a16="http://schemas.microsoft.com/office/drawing/2014/main" id="{C946A7D3-39FA-48E1-B533-D666007694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0763" y="1808018"/>
            <a:ext cx="1876425" cy="2005445"/>
          </a:xfrm>
        </p:spPr>
        <p:txBody>
          <a:bodyPr tIns="180000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Solution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  <a:p>
            <a:pPr lvl="0"/>
            <a:endParaRPr lang="hu-HU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C3AD9C5-3CC2-46F7-8F8C-2FAA97091A62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Situation</a:t>
            </a:r>
            <a:r>
              <a:rPr lang="hu-HU" dirty="0"/>
              <a:t> / </a:t>
            </a:r>
            <a:r>
              <a:rPr lang="hu-HU" dirty="0" err="1"/>
              <a:t>Complication</a:t>
            </a:r>
            <a:r>
              <a:rPr lang="hu-HU" dirty="0"/>
              <a:t> / </a:t>
            </a:r>
            <a:r>
              <a:rPr lang="hu-HU" dirty="0" err="1"/>
              <a:t>Solution</a:t>
            </a:r>
            <a:endParaRPr lang="en-GB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6F2002F8-29B1-43DE-BBBB-9935FCE7E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2" name="Dátum helye 2">
            <a:extLst>
              <a:ext uri="{FF2B5EF4-FFF2-40B4-BE49-F238E27FC236}">
                <a16:creationId xmlns:a16="http://schemas.microsoft.com/office/drawing/2014/main" id="{F5503117-66EA-4613-8620-C6F7B63870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7DBF3A9-A0AC-4CFB-B098-6CB92AE0431D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3" name="Dia számának helye 4">
            <a:extLst>
              <a:ext uri="{FF2B5EF4-FFF2-40B4-BE49-F238E27FC236}">
                <a16:creationId xmlns:a16="http://schemas.microsoft.com/office/drawing/2014/main" id="{66EBE8C7-2E23-454C-8C79-2F5EDB636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7055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/ list">
    <p:bg>
      <p:bgPr>
        <a:solidFill>
          <a:srgbClr val="E3E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69EA06F5-32C8-4094-9523-025A1F80FD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579563"/>
            <a:ext cx="5508625" cy="2130425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  <a:latin typeface="+mj-lt"/>
              </a:defRPr>
            </a:lvl1pPr>
            <a:lvl3pPr>
              <a:defRPr>
                <a:solidFill>
                  <a:srgbClr val="B00402"/>
                </a:solidFill>
                <a:latin typeface="+mj-lt"/>
              </a:defRPr>
            </a:lvl3pPr>
            <a:lvl4pPr>
              <a:defRPr>
                <a:solidFill>
                  <a:srgbClr val="B00402"/>
                </a:solidFill>
                <a:latin typeface="+mj-lt"/>
              </a:defRPr>
            </a:lvl4pPr>
            <a:lvl5pPr>
              <a:defRPr>
                <a:solidFill>
                  <a:srgbClr val="B00402"/>
                </a:solidFill>
                <a:latin typeface="+mj-lt"/>
              </a:defRPr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nonem</a:t>
            </a:r>
            <a:r>
              <a:rPr lang="hu-HU" dirty="0"/>
              <a:t> </a:t>
            </a:r>
            <a:r>
              <a:rPr lang="hu-HU" dirty="0" err="1"/>
              <a:t>volupid</a:t>
            </a:r>
            <a:r>
              <a:rPr lang="hu-HU" dirty="0"/>
              <a:t> </a:t>
            </a:r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r>
              <a:rPr lang="hu-HU" dirty="0"/>
              <a:t> ex </a:t>
            </a:r>
            <a:r>
              <a:rPr lang="hu-HU" dirty="0" err="1"/>
              <a:t>eosam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2 </a:t>
            </a:r>
            <a:r>
              <a:rPr lang="hu-HU" dirty="0" err="1"/>
              <a:t>Giae</a:t>
            </a:r>
            <a:r>
              <a:rPr lang="hu-HU" dirty="0"/>
              <a:t> </a:t>
            </a:r>
            <a:r>
              <a:rPr lang="hu-HU" dirty="0" err="1"/>
              <a:t>conet</a:t>
            </a:r>
            <a:r>
              <a:rPr lang="hu-HU" dirty="0"/>
              <a:t>, vel </a:t>
            </a:r>
            <a:r>
              <a:rPr lang="hu-HU" dirty="0" err="1"/>
              <a:t>mpostiberia</a:t>
            </a:r>
            <a:r>
              <a:rPr lang="hu-HU" dirty="0"/>
              <a:t> </a:t>
            </a:r>
            <a:r>
              <a:rPr lang="hu-HU" dirty="0" err="1"/>
              <a:t>nonecabo</a:t>
            </a:r>
            <a:r>
              <a:rPr lang="hu-HU" dirty="0"/>
              <a:t> </a:t>
            </a:r>
            <a:r>
              <a:rPr lang="hu-HU" dirty="0" err="1"/>
              <a:t>res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conseca estem.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 </a:t>
            </a:r>
            <a:r>
              <a:rPr lang="hu-HU" dirty="0" err="1"/>
              <a:t>p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r>
              <a:rPr lang="hu-HU" dirty="0"/>
              <a:t> </a:t>
            </a:r>
            <a:r>
              <a:rPr lang="hu-HU" dirty="0" err="1"/>
              <a:t>aut</a:t>
            </a:r>
            <a:r>
              <a:rPr lang="hu-HU" dirty="0"/>
              <a:t> ad </a:t>
            </a:r>
            <a:r>
              <a:rPr lang="hu-HU" dirty="0" err="1"/>
              <a:t>que</a:t>
            </a:r>
            <a:endParaRPr lang="hu-HU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7AB24E3-58D0-4951-BC8D-B8ED48FDDFF0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>
                <a:solidFill>
                  <a:srgbClr val="B00402"/>
                </a:solidFill>
              </a:rPr>
              <a:t>Summary</a:t>
            </a:r>
            <a:r>
              <a:rPr lang="hu-HU" dirty="0">
                <a:solidFill>
                  <a:srgbClr val="B00402"/>
                </a:solidFill>
              </a:rPr>
              <a:t> / </a:t>
            </a:r>
            <a:r>
              <a:rPr lang="hu-HU" dirty="0" err="1">
                <a:solidFill>
                  <a:srgbClr val="B00402"/>
                </a:solidFill>
              </a:rPr>
              <a:t>list</a:t>
            </a:r>
            <a:endParaRPr lang="en-GB" dirty="0">
              <a:solidFill>
                <a:srgbClr val="B00402"/>
              </a:solidFill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CBF92917-60FF-4D9B-B7CB-616E1C322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rgbClr val="B00402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7" name="Dátum helye 2">
            <a:extLst>
              <a:ext uri="{FF2B5EF4-FFF2-40B4-BE49-F238E27FC236}">
                <a16:creationId xmlns:a16="http://schemas.microsoft.com/office/drawing/2014/main" id="{746BBC40-8B4E-45A3-9E16-EF3548CA59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448A01E-51FE-4CB8-A5F1-6D15AE0F18BE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8" name="Dia számának helye 4">
            <a:extLst>
              <a:ext uri="{FF2B5EF4-FFF2-40B4-BE49-F238E27FC236}">
                <a16:creationId xmlns:a16="http://schemas.microsoft.com/office/drawing/2014/main" id="{1A9835D7-A9EF-44F5-9EA1-EB734594AD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59864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/ list (2)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69EA06F5-32C8-4094-9523-025A1F80FD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579563"/>
            <a:ext cx="5508625" cy="2130425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1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nonem</a:t>
            </a:r>
            <a:r>
              <a:rPr lang="hu-HU" dirty="0"/>
              <a:t> </a:t>
            </a:r>
            <a:r>
              <a:rPr lang="hu-HU" dirty="0" err="1"/>
              <a:t>volupid</a:t>
            </a:r>
            <a:r>
              <a:rPr lang="hu-HU" dirty="0"/>
              <a:t> </a:t>
            </a:r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r>
              <a:rPr lang="hu-HU" dirty="0"/>
              <a:t> ex </a:t>
            </a:r>
            <a:r>
              <a:rPr lang="hu-HU" dirty="0" err="1"/>
              <a:t>eosam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2 </a:t>
            </a:r>
            <a:r>
              <a:rPr lang="hu-HU" dirty="0" err="1"/>
              <a:t>Giae</a:t>
            </a:r>
            <a:r>
              <a:rPr lang="hu-HU" dirty="0"/>
              <a:t> </a:t>
            </a:r>
            <a:r>
              <a:rPr lang="hu-HU" dirty="0" err="1"/>
              <a:t>conet</a:t>
            </a:r>
            <a:r>
              <a:rPr lang="hu-HU" dirty="0"/>
              <a:t>, vel </a:t>
            </a:r>
            <a:r>
              <a:rPr lang="hu-HU" dirty="0" err="1"/>
              <a:t>mpostiberia</a:t>
            </a:r>
            <a:r>
              <a:rPr lang="hu-HU" dirty="0"/>
              <a:t> </a:t>
            </a:r>
            <a:r>
              <a:rPr lang="hu-HU" dirty="0" err="1"/>
              <a:t>nonecabo</a:t>
            </a:r>
            <a:r>
              <a:rPr lang="hu-HU" dirty="0"/>
              <a:t> </a:t>
            </a:r>
            <a:r>
              <a:rPr lang="hu-HU" dirty="0" err="1"/>
              <a:t>res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conseca estem.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 </a:t>
            </a:r>
            <a:r>
              <a:rPr lang="hu-HU" dirty="0" err="1"/>
              <a:t>p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r>
              <a:rPr lang="hu-HU" dirty="0"/>
              <a:t> </a:t>
            </a:r>
            <a:r>
              <a:rPr lang="hu-HU" dirty="0" err="1"/>
              <a:t>aut</a:t>
            </a:r>
            <a:r>
              <a:rPr lang="hu-HU" dirty="0"/>
              <a:t> ad </a:t>
            </a:r>
            <a:r>
              <a:rPr lang="hu-HU" dirty="0" err="1"/>
              <a:t>que</a:t>
            </a:r>
            <a:endParaRPr lang="hu-HU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A264607-842A-47BB-96F5-A56B7276788A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>
                <a:solidFill>
                  <a:schemeClr val="bg1"/>
                </a:solidFill>
              </a:rPr>
              <a:t>Summary</a:t>
            </a:r>
            <a:r>
              <a:rPr lang="hu-HU" dirty="0">
                <a:solidFill>
                  <a:schemeClr val="bg1"/>
                </a:solidFill>
              </a:rPr>
              <a:t> / </a:t>
            </a:r>
            <a:r>
              <a:rPr lang="hu-HU" dirty="0" err="1">
                <a:solidFill>
                  <a:schemeClr val="bg1"/>
                </a:solidFill>
              </a:rPr>
              <a:t>lis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9D89561F-11C3-477E-AE35-FC1CC3C37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7" name="Dátum helye 2">
            <a:extLst>
              <a:ext uri="{FF2B5EF4-FFF2-40B4-BE49-F238E27FC236}">
                <a16:creationId xmlns:a16="http://schemas.microsoft.com/office/drawing/2014/main" id="{7EE6795D-4702-4FAB-8DE5-F9D1185CA2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A80DBCF-43C8-4B64-B44A-99FD9540F99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8" name="Dia számának helye 4">
            <a:extLst>
              <a:ext uri="{FF2B5EF4-FFF2-40B4-BE49-F238E27FC236}">
                <a16:creationId xmlns:a16="http://schemas.microsoft.com/office/drawing/2014/main" id="{BBE24DDB-AB5D-42BE-81AF-E4C6DEBE24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12522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00EFAFF5-21A8-4CEA-A5BE-96553F98A02F}"/>
              </a:ext>
            </a:extLst>
          </p:cNvPr>
          <p:cNvSpPr/>
          <p:nvPr userDrawn="1"/>
        </p:nvSpPr>
        <p:spPr>
          <a:xfrm>
            <a:off x="0" y="1808018"/>
            <a:ext cx="2868163" cy="3335482"/>
          </a:xfrm>
          <a:prstGeom prst="homePlate">
            <a:avLst>
              <a:gd name="adj" fmla="val 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A5587782-6CB4-431D-8E51-08B0BDEB166B}"/>
              </a:ext>
            </a:extLst>
          </p:cNvPr>
          <p:cNvSpPr/>
          <p:nvPr userDrawn="1"/>
        </p:nvSpPr>
        <p:spPr>
          <a:xfrm>
            <a:off x="2868163" y="1808017"/>
            <a:ext cx="3332018" cy="3335482"/>
          </a:xfrm>
          <a:prstGeom prst="homePlate">
            <a:avLst>
              <a:gd name="adj" fmla="val 21342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Szöveg helye 20">
            <a:extLst>
              <a:ext uri="{FF2B5EF4-FFF2-40B4-BE49-F238E27FC236}">
                <a16:creationId xmlns:a16="http://schemas.microsoft.com/office/drawing/2014/main" id="{4765C32A-972C-4AC9-A891-896C2135AC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808018"/>
            <a:ext cx="2868163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rgbClr val="EA1C0A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rgbClr val="EA1C0A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rgbClr val="EA1C0A"/>
                </a:solidFill>
              </a:defRPr>
            </a:lvl3pPr>
            <a:lvl4pPr marL="538163" indent="-17938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EA1C0A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1</a:t>
            </a:r>
          </a:p>
        </p:txBody>
      </p:sp>
      <p:sp>
        <p:nvSpPr>
          <p:cNvPr id="12" name="Szöveg helye 20">
            <a:extLst>
              <a:ext uri="{FF2B5EF4-FFF2-40B4-BE49-F238E27FC236}">
                <a16:creationId xmlns:a16="http://schemas.microsoft.com/office/drawing/2014/main" id="{5C780A01-EC8C-4A92-863B-69F8E1D8A1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5281" y="1808018"/>
            <a:ext cx="2212831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644526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3" name="Szöveg helye 20">
            <a:extLst>
              <a:ext uri="{FF2B5EF4-FFF2-40B4-BE49-F238E27FC236}">
                <a16:creationId xmlns:a16="http://schemas.microsoft.com/office/drawing/2014/main" id="{DC583ABF-9E6C-454C-B770-B560CC63F6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6901" y="2473036"/>
            <a:ext cx="2212831" cy="2005445"/>
          </a:xfrm>
        </p:spPr>
        <p:txBody>
          <a:bodyPr anchor="ctr"/>
          <a:lstStyle>
            <a:lvl1pPr marL="0" indent="0" algn="r">
              <a:buFont typeface="Arial" panose="020B0604020202020204" pitchFamily="34" charset="0"/>
              <a:buNone/>
              <a:defRPr sz="1800">
                <a:solidFill>
                  <a:srgbClr val="EA1C0A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644526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Text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eaqui</a:t>
            </a:r>
            <a:r>
              <a:rPr lang="hu-HU" dirty="0"/>
              <a:t> </a:t>
            </a:r>
            <a:r>
              <a:rPr lang="hu-HU" dirty="0" err="1"/>
              <a:t>dolore</a:t>
            </a:r>
            <a:r>
              <a:rPr lang="hu-HU" dirty="0"/>
              <a:t> </a:t>
            </a:r>
            <a:r>
              <a:rPr lang="hu-HU" dirty="0" err="1"/>
              <a:t>simoluptae</a:t>
            </a:r>
            <a:r>
              <a:rPr lang="hu-HU" dirty="0"/>
              <a:t> </a:t>
            </a:r>
            <a:r>
              <a:rPr lang="hu-HU" dirty="0" err="1"/>
              <a:t>perum</a:t>
            </a:r>
            <a:r>
              <a:rPr lang="hu-HU" dirty="0"/>
              <a:t> </a:t>
            </a:r>
            <a:r>
              <a:rPr lang="hu-HU" dirty="0" err="1"/>
              <a:t>repretur</a:t>
            </a:r>
            <a:endParaRPr lang="hu-HU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03289DC-584B-4B35-977F-07948124CE91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ext</a:t>
            </a:r>
            <a:endParaRPr lang="en-GB" dirty="0"/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6432587D-4E32-4945-8260-E22607933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1" name="Dátum helye 2">
            <a:extLst>
              <a:ext uri="{FF2B5EF4-FFF2-40B4-BE49-F238E27FC236}">
                <a16:creationId xmlns:a16="http://schemas.microsoft.com/office/drawing/2014/main" id="{B62B78D3-5BE8-4FF1-BBA7-15B553862D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685DA88-3A12-40D9-AC45-D94DD49608B3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4" name="Dia számának helye 4">
            <a:extLst>
              <a:ext uri="{FF2B5EF4-FFF2-40B4-BE49-F238E27FC236}">
                <a16:creationId xmlns:a16="http://schemas.microsoft.com/office/drawing/2014/main" id="{6630CDD1-A024-4194-86D5-86D410590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260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00EFAFF5-21A8-4CEA-A5BE-96553F98A02F}"/>
              </a:ext>
            </a:extLst>
          </p:cNvPr>
          <p:cNvSpPr/>
          <p:nvPr userDrawn="1"/>
        </p:nvSpPr>
        <p:spPr>
          <a:xfrm>
            <a:off x="-785" y="1808018"/>
            <a:ext cx="3120737" cy="3335482"/>
          </a:xfrm>
          <a:prstGeom prst="homePlate">
            <a:avLst>
              <a:gd name="adj" fmla="val 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ctr"/>
          <a:lstStyle/>
          <a:p>
            <a:pPr algn="ctr"/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A5587782-6CB4-431D-8E51-08B0BDEB166B}"/>
              </a:ext>
            </a:extLst>
          </p:cNvPr>
          <p:cNvSpPr/>
          <p:nvPr userDrawn="1"/>
        </p:nvSpPr>
        <p:spPr>
          <a:xfrm>
            <a:off x="3114599" y="1808018"/>
            <a:ext cx="3036530" cy="3335482"/>
          </a:xfrm>
          <a:prstGeom prst="homePlate">
            <a:avLst>
              <a:gd name="adj" fmla="val 0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Szöveg helye 20">
            <a:extLst>
              <a:ext uri="{FF2B5EF4-FFF2-40B4-BE49-F238E27FC236}">
                <a16:creationId xmlns:a16="http://schemas.microsoft.com/office/drawing/2014/main" id="{4765C32A-972C-4AC9-A891-896C2135AC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816639"/>
            <a:ext cx="2484695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rgbClr val="EA1C0A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rgbClr val="EA1C0A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rgbClr val="EA1C0A"/>
                </a:solidFill>
              </a:defRPr>
            </a:lvl3pPr>
            <a:lvl4pPr marL="538163" indent="-17938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EA1C0A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1</a:t>
            </a:r>
          </a:p>
        </p:txBody>
      </p:sp>
      <p:sp>
        <p:nvSpPr>
          <p:cNvPr id="12" name="Szöveg helye 20">
            <a:extLst>
              <a:ext uri="{FF2B5EF4-FFF2-40B4-BE49-F238E27FC236}">
                <a16:creationId xmlns:a16="http://schemas.microsoft.com/office/drawing/2014/main" id="{5C780A01-EC8C-4A92-863B-69F8E1D8A1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2000" y="1816639"/>
            <a:ext cx="2212831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644526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1" name="Nyíl: ötszög 10">
            <a:extLst>
              <a:ext uri="{FF2B5EF4-FFF2-40B4-BE49-F238E27FC236}">
                <a16:creationId xmlns:a16="http://schemas.microsoft.com/office/drawing/2014/main" id="{DEDF844F-783E-43DE-9D9C-D29E9D1DD082}"/>
              </a:ext>
            </a:extLst>
          </p:cNvPr>
          <p:cNvSpPr/>
          <p:nvPr userDrawn="1"/>
        </p:nvSpPr>
        <p:spPr>
          <a:xfrm>
            <a:off x="6144992" y="1808018"/>
            <a:ext cx="2999008" cy="3335482"/>
          </a:xfrm>
          <a:prstGeom prst="homePlate">
            <a:avLst>
              <a:gd name="adj" fmla="val 0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20">
            <a:extLst>
              <a:ext uri="{FF2B5EF4-FFF2-40B4-BE49-F238E27FC236}">
                <a16:creationId xmlns:a16="http://schemas.microsoft.com/office/drawing/2014/main" id="{60EEA2E4-63FC-4140-948C-5F6F380BC8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7266" y="1821939"/>
            <a:ext cx="2212831" cy="2553680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79388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538163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717550" indent="-180975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/>
              <a:t>1.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1"/>
            <a:endParaRPr lang="hu-HU" dirty="0"/>
          </a:p>
          <a:p>
            <a:pPr lvl="1"/>
            <a:r>
              <a:rPr lang="hu-HU" dirty="0"/>
              <a:t>2.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A0DC207-5389-490E-BA04-8B3438E7E79A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ext</a:t>
            </a:r>
            <a:endParaRPr lang="en-GB" dirty="0"/>
          </a:p>
        </p:txBody>
      </p:sp>
      <p:sp>
        <p:nvSpPr>
          <p:cNvPr id="22" name="Fußzeilenplatzhalter 6">
            <a:extLst>
              <a:ext uri="{FF2B5EF4-FFF2-40B4-BE49-F238E27FC236}">
                <a16:creationId xmlns:a16="http://schemas.microsoft.com/office/drawing/2014/main" id="{7D6D4D2C-4EF2-46B3-B46A-CF8F08776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3" name="Dátum helye 2">
            <a:extLst>
              <a:ext uri="{FF2B5EF4-FFF2-40B4-BE49-F238E27FC236}">
                <a16:creationId xmlns:a16="http://schemas.microsoft.com/office/drawing/2014/main" id="{C5FBDA08-30B7-43CE-B6C1-805BF798C3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EF596E0-7CE3-442E-BD1C-E405424FCDE0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5" name="Dia számának helye 4">
            <a:extLst>
              <a:ext uri="{FF2B5EF4-FFF2-40B4-BE49-F238E27FC236}">
                <a16:creationId xmlns:a16="http://schemas.microsoft.com/office/drawing/2014/main" id="{777CC0BF-5226-41F6-BA74-9610D8110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78014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ighlat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00EFAFF5-21A8-4CEA-A5BE-96553F98A02F}"/>
              </a:ext>
            </a:extLst>
          </p:cNvPr>
          <p:cNvSpPr/>
          <p:nvPr userDrawn="1"/>
        </p:nvSpPr>
        <p:spPr>
          <a:xfrm>
            <a:off x="-785" y="1808018"/>
            <a:ext cx="3120737" cy="3335482"/>
          </a:xfrm>
          <a:prstGeom prst="homePlate">
            <a:avLst>
              <a:gd name="adj" fmla="val 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ctr"/>
          <a:lstStyle/>
          <a:p>
            <a:pPr algn="ctr"/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A5587782-6CB4-431D-8E51-08B0BDEB166B}"/>
              </a:ext>
            </a:extLst>
          </p:cNvPr>
          <p:cNvSpPr/>
          <p:nvPr userDrawn="1"/>
        </p:nvSpPr>
        <p:spPr>
          <a:xfrm>
            <a:off x="3114599" y="1808018"/>
            <a:ext cx="3036530" cy="3335482"/>
          </a:xfrm>
          <a:prstGeom prst="homePlate">
            <a:avLst>
              <a:gd name="adj" fmla="val 0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Szöveg helye 20">
            <a:extLst>
              <a:ext uri="{FF2B5EF4-FFF2-40B4-BE49-F238E27FC236}">
                <a16:creationId xmlns:a16="http://schemas.microsoft.com/office/drawing/2014/main" id="{4765C32A-972C-4AC9-A891-896C2135AC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816639"/>
            <a:ext cx="2484695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rgbClr val="B00402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rgbClr val="B00402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 marL="538163" indent="-17938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1</a:t>
            </a:r>
          </a:p>
        </p:txBody>
      </p:sp>
      <p:sp>
        <p:nvSpPr>
          <p:cNvPr id="12" name="Szöveg helye 20">
            <a:extLst>
              <a:ext uri="{FF2B5EF4-FFF2-40B4-BE49-F238E27FC236}">
                <a16:creationId xmlns:a16="http://schemas.microsoft.com/office/drawing/2014/main" id="{5C780A01-EC8C-4A92-863B-69F8E1D8A1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2000" y="1816639"/>
            <a:ext cx="2212831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644526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1" name="Nyíl: ötszög 10">
            <a:extLst>
              <a:ext uri="{FF2B5EF4-FFF2-40B4-BE49-F238E27FC236}">
                <a16:creationId xmlns:a16="http://schemas.microsoft.com/office/drawing/2014/main" id="{DEDF844F-783E-43DE-9D9C-D29E9D1DD082}"/>
              </a:ext>
            </a:extLst>
          </p:cNvPr>
          <p:cNvSpPr/>
          <p:nvPr userDrawn="1"/>
        </p:nvSpPr>
        <p:spPr>
          <a:xfrm>
            <a:off x="6144992" y="1808018"/>
            <a:ext cx="2999008" cy="3335482"/>
          </a:xfrm>
          <a:prstGeom prst="homePlate">
            <a:avLst>
              <a:gd name="adj" fmla="val 0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20">
            <a:extLst>
              <a:ext uri="{FF2B5EF4-FFF2-40B4-BE49-F238E27FC236}">
                <a16:creationId xmlns:a16="http://schemas.microsoft.com/office/drawing/2014/main" id="{60EEA2E4-63FC-4140-948C-5F6F380BC8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7266" y="1821939"/>
            <a:ext cx="2212831" cy="1488820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79388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538163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717550" indent="-180975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/>
              <a:t>1.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1"/>
            <a:endParaRPr lang="hu-HU" dirty="0"/>
          </a:p>
          <a:p>
            <a:pPr lvl="1"/>
            <a:endParaRPr lang="hu-HU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A0DC207-5389-490E-BA04-8B3438E7E79A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ext</a:t>
            </a:r>
          </a:p>
          <a:p>
            <a:r>
              <a:rPr lang="hu-HU" dirty="0" err="1"/>
              <a:t>Highlighted</a:t>
            </a:r>
            <a:r>
              <a:rPr lang="hu-HU" dirty="0"/>
              <a:t> </a:t>
            </a:r>
            <a:r>
              <a:rPr lang="hu-HU" dirty="0" err="1"/>
              <a:t>boxes</a:t>
            </a:r>
            <a:endParaRPr lang="en-GB" dirty="0"/>
          </a:p>
        </p:txBody>
      </p:sp>
      <p:sp>
        <p:nvSpPr>
          <p:cNvPr id="22" name="Fußzeilenplatzhalter 6">
            <a:extLst>
              <a:ext uri="{FF2B5EF4-FFF2-40B4-BE49-F238E27FC236}">
                <a16:creationId xmlns:a16="http://schemas.microsoft.com/office/drawing/2014/main" id="{7D6D4D2C-4EF2-46B3-B46A-CF8F08776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329B19D8-28AC-4BEA-883F-87A9797C9E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51129" y="3645775"/>
            <a:ext cx="2992871" cy="1497725"/>
          </a:xfrm>
        </p:spPr>
        <p:txBody>
          <a:bodyPr/>
          <a:lstStyle/>
          <a:p>
            <a:endParaRPr lang="hu-HU"/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ECF032B7-4FEA-40D5-A69C-A1C078B741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552" y="3645776"/>
            <a:ext cx="2995447" cy="149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953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ighlated box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3B44AF6-49AD-4E94-AFD9-5560CC9D6F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Text</a:t>
            </a:r>
            <a:br>
              <a:rPr lang="hu-HU" dirty="0"/>
            </a:br>
            <a:r>
              <a:rPr lang="hu-HU" dirty="0" err="1"/>
              <a:t>Highlated</a:t>
            </a:r>
            <a:r>
              <a:rPr lang="hu-HU" dirty="0"/>
              <a:t> </a:t>
            </a:r>
            <a:r>
              <a:rPr lang="hu-HU" dirty="0" err="1"/>
              <a:t>boxe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477B379C-8D50-414D-AF40-812F68315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617FF-6D73-47DB-92CF-7A1393C83D36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90F5DF1-6450-40F0-9082-5ABC976F7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A828CCC-E382-4990-AE89-7F9E25455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Nyíl: ötszög 5">
            <a:extLst>
              <a:ext uri="{FF2B5EF4-FFF2-40B4-BE49-F238E27FC236}">
                <a16:creationId xmlns:a16="http://schemas.microsoft.com/office/drawing/2014/main" id="{9830B7AE-A21E-4EA7-8F98-B0B333539B8E}"/>
              </a:ext>
            </a:extLst>
          </p:cNvPr>
          <p:cNvSpPr/>
          <p:nvPr userDrawn="1"/>
        </p:nvSpPr>
        <p:spPr>
          <a:xfrm>
            <a:off x="-785" y="1808018"/>
            <a:ext cx="3120737" cy="3335482"/>
          </a:xfrm>
          <a:prstGeom prst="homePlate">
            <a:avLst>
              <a:gd name="adj" fmla="val 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ctr"/>
          <a:lstStyle/>
          <a:p>
            <a:pPr algn="ctr"/>
            <a:endParaRPr lang="hu-HU" dirty="0"/>
          </a:p>
        </p:txBody>
      </p:sp>
      <p:sp>
        <p:nvSpPr>
          <p:cNvPr id="7" name="Nyíl: ötszög 6">
            <a:extLst>
              <a:ext uri="{FF2B5EF4-FFF2-40B4-BE49-F238E27FC236}">
                <a16:creationId xmlns:a16="http://schemas.microsoft.com/office/drawing/2014/main" id="{106C7759-FBC9-4E81-B772-BFB97054A5E5}"/>
              </a:ext>
            </a:extLst>
          </p:cNvPr>
          <p:cNvSpPr/>
          <p:nvPr userDrawn="1"/>
        </p:nvSpPr>
        <p:spPr>
          <a:xfrm>
            <a:off x="3114599" y="1808018"/>
            <a:ext cx="3036530" cy="3335482"/>
          </a:xfrm>
          <a:prstGeom prst="homePlate">
            <a:avLst>
              <a:gd name="adj" fmla="val 0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8" name="Szöveg helye 20">
            <a:extLst>
              <a:ext uri="{FF2B5EF4-FFF2-40B4-BE49-F238E27FC236}">
                <a16:creationId xmlns:a16="http://schemas.microsoft.com/office/drawing/2014/main" id="{17F245E8-C602-4E7A-A069-369F0C688E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816639"/>
            <a:ext cx="2484695" cy="2005445"/>
          </a:xfrm>
        </p:spPr>
        <p:txBody>
          <a:bodyPr lIns="396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rgbClr val="B00402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rgbClr val="B00402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 marL="538163" indent="-17938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1</a:t>
            </a:r>
          </a:p>
        </p:txBody>
      </p:sp>
      <p:sp>
        <p:nvSpPr>
          <p:cNvPr id="9" name="Szöveg helye 20">
            <a:extLst>
              <a:ext uri="{FF2B5EF4-FFF2-40B4-BE49-F238E27FC236}">
                <a16:creationId xmlns:a16="http://schemas.microsoft.com/office/drawing/2014/main" id="{84890E4B-1A29-44C5-BDB3-D9F10B42DF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2000" y="1816639"/>
            <a:ext cx="2212831" cy="2005445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644526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0" name="Nyíl: ötszög 9">
            <a:extLst>
              <a:ext uri="{FF2B5EF4-FFF2-40B4-BE49-F238E27FC236}">
                <a16:creationId xmlns:a16="http://schemas.microsoft.com/office/drawing/2014/main" id="{22D283A1-8663-4E1C-84E2-8B38271B568B}"/>
              </a:ext>
            </a:extLst>
          </p:cNvPr>
          <p:cNvSpPr/>
          <p:nvPr userDrawn="1"/>
        </p:nvSpPr>
        <p:spPr>
          <a:xfrm>
            <a:off x="6144992" y="1808018"/>
            <a:ext cx="2999008" cy="3335482"/>
          </a:xfrm>
          <a:prstGeom prst="homePlate">
            <a:avLst>
              <a:gd name="adj" fmla="val 0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1" name="Szöveg helye 20">
            <a:extLst>
              <a:ext uri="{FF2B5EF4-FFF2-40B4-BE49-F238E27FC236}">
                <a16:creationId xmlns:a16="http://schemas.microsoft.com/office/drawing/2014/main" id="{0D672C84-E08D-4F72-BFC7-3859DAEF16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7266" y="1821939"/>
            <a:ext cx="2212831" cy="1488820"/>
          </a:xfrm>
        </p:spPr>
        <p:txBody>
          <a:bodyPr lIns="180000" tIns="72000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179388" indent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538163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717550" indent="-180975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elitr</a:t>
            </a:r>
            <a:endParaRPr lang="hu-HU" dirty="0"/>
          </a:p>
          <a:p>
            <a:pPr lvl="1"/>
            <a:r>
              <a:rPr lang="hu-HU" dirty="0"/>
              <a:t>1.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1"/>
            <a:endParaRPr lang="hu-HU" dirty="0"/>
          </a:p>
          <a:p>
            <a:pPr lvl="1"/>
            <a:endParaRPr lang="hu-HU" dirty="0"/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6F1A3093-4CB8-442C-B49A-EA158721A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552" y="3645776"/>
            <a:ext cx="2995447" cy="149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6504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48836958-FFBB-4A21-92E0-02648B168B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13463" y="1376363"/>
            <a:ext cx="3031026" cy="3767880"/>
          </a:xfrm>
          <a:prstGeom prst="rect">
            <a:avLst/>
          </a:prstGeom>
        </p:spPr>
      </p:pic>
      <p:sp>
        <p:nvSpPr>
          <p:cNvPr id="4" name="Kép helye 3">
            <a:extLst>
              <a:ext uri="{FF2B5EF4-FFF2-40B4-BE49-F238E27FC236}">
                <a16:creationId xmlns:a16="http://schemas.microsoft.com/office/drawing/2014/main" id="{0C2AF592-77E7-41C3-B35A-84313562CC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3463" y="1376363"/>
            <a:ext cx="3030537" cy="3767137"/>
          </a:xfrm>
        </p:spPr>
        <p:txBody>
          <a:bodyPr/>
          <a:lstStyle/>
          <a:p>
            <a:endParaRPr lang="hu-HU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DC19465-03F4-45F4-B0D4-7DA85F7CE7E4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Objective</a:t>
            </a:r>
            <a:endParaRPr lang="en-GB" dirty="0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5DD5E2BA-4FE4-41D2-8458-832CDAFDA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3EE85717-381A-49F5-8B50-E87252EFCAAA}"/>
              </a:ext>
            </a:extLst>
          </p:cNvPr>
          <p:cNvSpPr/>
          <p:nvPr userDrawn="1"/>
        </p:nvSpPr>
        <p:spPr>
          <a:xfrm>
            <a:off x="0" y="1376364"/>
            <a:ext cx="6112974" cy="3767880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Szöveg helye 6">
            <a:extLst>
              <a:ext uri="{FF2B5EF4-FFF2-40B4-BE49-F238E27FC236}">
                <a16:creationId xmlns:a16="http://schemas.microsoft.com/office/drawing/2014/main" id="{C4E83B85-DFCD-4261-8F09-EE6D1720CB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7241" y="1376364"/>
            <a:ext cx="3330575" cy="1814512"/>
          </a:xfrm>
        </p:spPr>
        <p:txBody>
          <a:bodyPr lIns="360000" tIns="18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2" name="Dátum helye 2">
            <a:extLst>
              <a:ext uri="{FF2B5EF4-FFF2-40B4-BE49-F238E27FC236}">
                <a16:creationId xmlns:a16="http://schemas.microsoft.com/office/drawing/2014/main" id="{F7B3D8CE-4462-41BD-9706-29F56BA42B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31C7BDB8-521F-47CD-A324-74E49620BD00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5" name="Dia számának helye 4">
            <a:extLst>
              <a:ext uri="{FF2B5EF4-FFF2-40B4-BE49-F238E27FC236}">
                <a16:creationId xmlns:a16="http://schemas.microsoft.com/office/drawing/2014/main" id="{77EF9C63-36F3-4192-9BD7-689D7A9D7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840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églalap 27">
            <a:extLst>
              <a:ext uri="{FF2B5EF4-FFF2-40B4-BE49-F238E27FC236}">
                <a16:creationId xmlns:a16="http://schemas.microsoft.com/office/drawing/2014/main" id="{A7B86477-6B1C-4070-A31E-184B02226F8B}"/>
              </a:ext>
            </a:extLst>
          </p:cNvPr>
          <p:cNvSpPr/>
          <p:nvPr userDrawn="1"/>
        </p:nvSpPr>
        <p:spPr>
          <a:xfrm>
            <a:off x="1398214" y="1659075"/>
            <a:ext cx="5921584" cy="470372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1EFA3B38-3F52-458D-9D86-CF2E2515B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Agenda (</a:t>
            </a:r>
            <a:r>
              <a:rPr lang="hu-HU" dirty="0" err="1"/>
              <a:t>manual</a:t>
            </a:r>
            <a:r>
              <a:rPr lang="hu-HU" dirty="0"/>
              <a:t>)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DC39100-2B3A-47B8-9846-95B123CFB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DC89EBD0-A5E5-4C93-AA13-3DA008F89893}"/>
              </a:ext>
            </a:extLst>
          </p:cNvPr>
          <p:cNvSpPr/>
          <p:nvPr userDrawn="1"/>
        </p:nvSpPr>
        <p:spPr>
          <a:xfrm>
            <a:off x="3" y="1656633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6A8A9CB0-D852-44FE-8528-54A925BF570A}"/>
              </a:ext>
            </a:extLst>
          </p:cNvPr>
          <p:cNvSpPr/>
          <p:nvPr userDrawn="1"/>
        </p:nvSpPr>
        <p:spPr>
          <a:xfrm>
            <a:off x="3" y="2212824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0" name="Nyíl: ötszög 19">
            <a:extLst>
              <a:ext uri="{FF2B5EF4-FFF2-40B4-BE49-F238E27FC236}">
                <a16:creationId xmlns:a16="http://schemas.microsoft.com/office/drawing/2014/main" id="{89504983-4AE9-4C02-9C50-E5A624E83AF4}"/>
              </a:ext>
            </a:extLst>
          </p:cNvPr>
          <p:cNvSpPr/>
          <p:nvPr userDrawn="1"/>
        </p:nvSpPr>
        <p:spPr>
          <a:xfrm>
            <a:off x="2" y="2769015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1" name="Nyíl: ötszög 20">
            <a:extLst>
              <a:ext uri="{FF2B5EF4-FFF2-40B4-BE49-F238E27FC236}">
                <a16:creationId xmlns:a16="http://schemas.microsoft.com/office/drawing/2014/main" id="{0AD9C407-A478-47B8-A3D5-29389CBC5E82}"/>
              </a:ext>
            </a:extLst>
          </p:cNvPr>
          <p:cNvSpPr/>
          <p:nvPr userDrawn="1"/>
        </p:nvSpPr>
        <p:spPr>
          <a:xfrm>
            <a:off x="1" y="3324609"/>
            <a:ext cx="1542335" cy="470969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2" name="Nyíl: ötszög 21">
            <a:extLst>
              <a:ext uri="{FF2B5EF4-FFF2-40B4-BE49-F238E27FC236}">
                <a16:creationId xmlns:a16="http://schemas.microsoft.com/office/drawing/2014/main" id="{7028F3A1-141B-43FB-9016-6F831DB96A69}"/>
              </a:ext>
            </a:extLst>
          </p:cNvPr>
          <p:cNvSpPr/>
          <p:nvPr userDrawn="1"/>
        </p:nvSpPr>
        <p:spPr>
          <a:xfrm>
            <a:off x="0" y="3881397"/>
            <a:ext cx="1542335" cy="470372"/>
          </a:xfrm>
          <a:prstGeom prst="homePlate">
            <a:avLst>
              <a:gd name="adj" fmla="val 30374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23" name="Szöveg helye 26">
            <a:extLst>
              <a:ext uri="{FF2B5EF4-FFF2-40B4-BE49-F238E27FC236}">
                <a16:creationId xmlns:a16="http://schemas.microsoft.com/office/drawing/2014/main" id="{6AFE5270-676E-464F-8D24-2E689016D5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56634"/>
            <a:ext cx="1397000" cy="470371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4" name="Szöveg helye 26">
            <a:extLst>
              <a:ext uri="{FF2B5EF4-FFF2-40B4-BE49-F238E27FC236}">
                <a16:creationId xmlns:a16="http://schemas.microsoft.com/office/drawing/2014/main" id="{9E9018C8-3514-4233-8A36-B7412101F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" y="2212824"/>
            <a:ext cx="1397000" cy="468539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5" name="Szöveg helye 26">
            <a:extLst>
              <a:ext uri="{FF2B5EF4-FFF2-40B4-BE49-F238E27FC236}">
                <a16:creationId xmlns:a16="http://schemas.microsoft.com/office/drawing/2014/main" id="{13F7555F-149E-49A1-9C0E-CBA103A7F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13" y="2771457"/>
            <a:ext cx="1397000" cy="456657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4FC1FB08-E21F-4673-A6B0-78501EA9AD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13" y="3322166"/>
            <a:ext cx="1397000" cy="473411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D12E1914-E2D3-4B55-B4E2-5A3DD05E06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881397"/>
            <a:ext cx="1397000" cy="46624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D7265A00-9B8E-4D8D-9870-B5A8534F76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88211" y="3325206"/>
            <a:ext cx="5531586" cy="470371"/>
          </a:xfr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2" name="Szöveg helye 26">
            <a:extLst>
              <a:ext uri="{FF2B5EF4-FFF2-40B4-BE49-F238E27FC236}">
                <a16:creationId xmlns:a16="http://schemas.microsoft.com/office/drawing/2014/main" id="{1DD027FB-F84F-436D-AC81-4D6DF61BCE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88211" y="2766270"/>
            <a:ext cx="5531586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33" name="Szöveg helye 26">
            <a:extLst>
              <a:ext uri="{FF2B5EF4-FFF2-40B4-BE49-F238E27FC236}">
                <a16:creationId xmlns:a16="http://schemas.microsoft.com/office/drawing/2014/main" id="{B77E7FDF-E4F9-4F57-B7B5-F13A804AC68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88211" y="2210993"/>
            <a:ext cx="5531586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34" name="Szöveg helye 26">
            <a:extLst>
              <a:ext uri="{FF2B5EF4-FFF2-40B4-BE49-F238E27FC236}">
                <a16:creationId xmlns:a16="http://schemas.microsoft.com/office/drawing/2014/main" id="{0975DB0B-8634-435E-AFD5-777F19DBF62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01525" y="1656634"/>
            <a:ext cx="5718272" cy="470371"/>
          </a:xfrm>
        </p:spPr>
        <p:txBody>
          <a:bodyPr lIns="36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35" name="Szöveg helye 26">
            <a:extLst>
              <a:ext uri="{FF2B5EF4-FFF2-40B4-BE49-F238E27FC236}">
                <a16:creationId xmlns:a16="http://schemas.microsoft.com/office/drawing/2014/main" id="{561E3EB6-0271-490E-BE59-EFE515A59F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88211" y="3877266"/>
            <a:ext cx="5531586" cy="47037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pic>
        <p:nvPicPr>
          <p:cNvPr id="36" name="Grafik 3">
            <a:extLst>
              <a:ext uri="{FF2B5EF4-FFF2-40B4-BE49-F238E27FC236}">
                <a16:creationId xmlns:a16="http://schemas.microsoft.com/office/drawing/2014/main" id="{BADDAAFC-DA6B-4B94-A901-8E05C5C2DC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110" y="4320701"/>
            <a:ext cx="1548000" cy="45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2057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48836958-FFBB-4A21-92E0-02648B168B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13463" y="1376363"/>
            <a:ext cx="3031026" cy="3767880"/>
          </a:xfrm>
          <a:prstGeom prst="rect">
            <a:avLst/>
          </a:prstGeom>
        </p:spPr>
      </p:pic>
      <p:sp>
        <p:nvSpPr>
          <p:cNvPr id="15" name="Szöveg helye 14">
            <a:extLst>
              <a:ext uri="{FF2B5EF4-FFF2-40B4-BE49-F238E27FC236}">
                <a16:creationId xmlns:a16="http://schemas.microsoft.com/office/drawing/2014/main" id="{C48D8CB4-EC00-42EB-8A34-0B8D7E315C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376363"/>
            <a:ext cx="6113463" cy="3767137"/>
          </a:xfrm>
          <a:solidFill>
            <a:schemeClr val="bg1"/>
          </a:solidFill>
        </p:spPr>
        <p:txBody>
          <a:bodyPr lIns="360000" tIns="180000"/>
          <a:lstStyle>
            <a:lvl2pPr>
              <a:buClr>
                <a:srgbClr val="FF0000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nonem</a:t>
            </a:r>
            <a:r>
              <a:rPr lang="hu-HU" dirty="0"/>
              <a:t> </a:t>
            </a:r>
            <a:r>
              <a:rPr lang="hu-HU" dirty="0" err="1"/>
              <a:t>volupid</a:t>
            </a:r>
            <a:r>
              <a:rPr lang="hu-HU" dirty="0"/>
              <a:t> </a:t>
            </a:r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endParaRPr lang="hu-HU" dirty="0"/>
          </a:p>
          <a:p>
            <a:pPr lvl="2"/>
            <a:r>
              <a:rPr lang="hu-HU" dirty="0"/>
              <a:t>Level2 </a:t>
            </a:r>
            <a:r>
              <a:rPr lang="hu-HU" dirty="0" err="1"/>
              <a:t>Gia</a:t>
            </a:r>
            <a:r>
              <a:rPr lang="hu-HU" dirty="0"/>
              <a:t> </a:t>
            </a:r>
            <a:r>
              <a:rPr lang="hu-HU" dirty="0" err="1"/>
              <a:t>conet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Ugianderum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</a:t>
            </a:r>
            <a:r>
              <a:rPr lang="hu-HU" dirty="0" err="1"/>
              <a:t>pellabo</a:t>
            </a:r>
            <a:endParaRPr lang="hu-HU" dirty="0"/>
          </a:p>
        </p:txBody>
      </p:sp>
      <p:sp>
        <p:nvSpPr>
          <p:cNvPr id="7" name="Kép helye 3">
            <a:extLst>
              <a:ext uri="{FF2B5EF4-FFF2-40B4-BE49-F238E27FC236}">
                <a16:creationId xmlns:a16="http://schemas.microsoft.com/office/drawing/2014/main" id="{417B67D7-3278-4BE3-850A-08D8334A2F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3463" y="1376363"/>
            <a:ext cx="3030537" cy="3767137"/>
          </a:xfrm>
        </p:spPr>
        <p:txBody>
          <a:bodyPr/>
          <a:lstStyle/>
          <a:p>
            <a:endParaRPr lang="hu-HU"/>
          </a:p>
        </p:txBody>
      </p:sp>
      <p:sp>
        <p:nvSpPr>
          <p:cNvPr id="10" name="Kép helye 3">
            <a:extLst>
              <a:ext uri="{FF2B5EF4-FFF2-40B4-BE49-F238E27FC236}">
                <a16:creationId xmlns:a16="http://schemas.microsoft.com/office/drawing/2014/main" id="{86FA7731-B750-4235-ADD3-FA07E921E2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3463" y="1376363"/>
            <a:ext cx="3030537" cy="3767137"/>
          </a:xfrm>
        </p:spPr>
        <p:txBody>
          <a:bodyPr/>
          <a:lstStyle/>
          <a:p>
            <a:endParaRPr lang="hu-HU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1EC55BB-3C91-4A9C-98D6-F55C4779E12D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Objective</a:t>
            </a:r>
            <a:endParaRPr lang="en-GB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884D93D7-EA38-4B9F-9FA4-F50B8D203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2" name="Dátum helye 2">
            <a:extLst>
              <a:ext uri="{FF2B5EF4-FFF2-40B4-BE49-F238E27FC236}">
                <a16:creationId xmlns:a16="http://schemas.microsoft.com/office/drawing/2014/main" id="{82C68A6C-8796-4361-BA06-DF550CF180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8EA9DB1-9080-49A9-97C8-78B60DF93B4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7" name="Dia számának helye 4">
            <a:extLst>
              <a:ext uri="{FF2B5EF4-FFF2-40B4-BE49-F238E27FC236}">
                <a16:creationId xmlns:a16="http://schemas.microsoft.com/office/drawing/2014/main" id="{64DA1D56-A36E-40E8-83F6-EE13E1B31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5610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s,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C81D29FC-068F-4AAC-A81E-14C4C8D2DF77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Hints, </a:t>
            </a:r>
            <a:r>
              <a:rPr lang="hu-HU" dirty="0" err="1"/>
              <a:t>list</a:t>
            </a:r>
            <a:endParaRPr lang="en-GB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DFB3E749-8314-46CF-888E-56E312B5A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31" name="Téglalap 30">
            <a:extLst>
              <a:ext uri="{FF2B5EF4-FFF2-40B4-BE49-F238E27FC236}">
                <a16:creationId xmlns:a16="http://schemas.microsoft.com/office/drawing/2014/main" id="{F9E009EC-CD45-42A6-9A8D-E54B7D092CDD}"/>
              </a:ext>
            </a:extLst>
          </p:cNvPr>
          <p:cNvSpPr/>
          <p:nvPr userDrawn="1"/>
        </p:nvSpPr>
        <p:spPr>
          <a:xfrm>
            <a:off x="377999" y="1178184"/>
            <a:ext cx="3555762" cy="478679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Téglalap 31">
            <a:extLst>
              <a:ext uri="{FF2B5EF4-FFF2-40B4-BE49-F238E27FC236}">
                <a16:creationId xmlns:a16="http://schemas.microsoft.com/office/drawing/2014/main" id="{3C307B0D-5D82-4BD7-A8C9-CF1C7E8EBCE5}"/>
              </a:ext>
            </a:extLst>
          </p:cNvPr>
          <p:cNvSpPr/>
          <p:nvPr userDrawn="1"/>
        </p:nvSpPr>
        <p:spPr>
          <a:xfrm>
            <a:off x="377999" y="1809263"/>
            <a:ext cx="3555762" cy="478679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3" name="Téglalap 32">
            <a:extLst>
              <a:ext uri="{FF2B5EF4-FFF2-40B4-BE49-F238E27FC236}">
                <a16:creationId xmlns:a16="http://schemas.microsoft.com/office/drawing/2014/main" id="{AA4553F8-58C6-4603-9182-05CAD42C90F1}"/>
              </a:ext>
            </a:extLst>
          </p:cNvPr>
          <p:cNvSpPr/>
          <p:nvPr userDrawn="1"/>
        </p:nvSpPr>
        <p:spPr>
          <a:xfrm>
            <a:off x="377999" y="2440342"/>
            <a:ext cx="3555762" cy="478679"/>
          </a:xfrm>
          <a:prstGeom prst="rect">
            <a:avLst/>
          </a:prstGeom>
          <a:solidFill>
            <a:srgbClr val="B00402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4" name="Téglalap 33">
            <a:extLst>
              <a:ext uri="{FF2B5EF4-FFF2-40B4-BE49-F238E27FC236}">
                <a16:creationId xmlns:a16="http://schemas.microsoft.com/office/drawing/2014/main" id="{B7177B1C-82DE-4D7B-B233-23FA6B26BF6A}"/>
              </a:ext>
            </a:extLst>
          </p:cNvPr>
          <p:cNvSpPr/>
          <p:nvPr userDrawn="1"/>
        </p:nvSpPr>
        <p:spPr>
          <a:xfrm>
            <a:off x="377999" y="3071421"/>
            <a:ext cx="3555762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5" name="Téglalap 34">
            <a:extLst>
              <a:ext uri="{FF2B5EF4-FFF2-40B4-BE49-F238E27FC236}">
                <a16:creationId xmlns:a16="http://schemas.microsoft.com/office/drawing/2014/main" id="{C293BED3-FE15-45AD-95E2-0E3AC7C19328}"/>
              </a:ext>
            </a:extLst>
          </p:cNvPr>
          <p:cNvSpPr/>
          <p:nvPr userDrawn="1"/>
        </p:nvSpPr>
        <p:spPr>
          <a:xfrm>
            <a:off x="377999" y="3702500"/>
            <a:ext cx="3555762" cy="478679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6" name="Szöveg helye 3">
            <a:extLst>
              <a:ext uri="{FF2B5EF4-FFF2-40B4-BE49-F238E27FC236}">
                <a16:creationId xmlns:a16="http://schemas.microsoft.com/office/drawing/2014/main" id="{122D532E-6E21-45E2-A31B-8227C658D7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999" y="1211942"/>
            <a:ext cx="3332163" cy="411162"/>
          </a:xfrm>
          <a:solidFill>
            <a:srgbClr val="EA1C0A"/>
          </a:solidFill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7" name="Szöveg helye 3">
            <a:extLst>
              <a:ext uri="{FF2B5EF4-FFF2-40B4-BE49-F238E27FC236}">
                <a16:creationId xmlns:a16="http://schemas.microsoft.com/office/drawing/2014/main" id="{306F216D-344D-4188-ABD9-3199335206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999" y="1843021"/>
            <a:ext cx="3332163" cy="411162"/>
          </a:xfrm>
          <a:solidFill>
            <a:srgbClr val="B00402"/>
          </a:solidFill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8" name="Szöveg helye 3">
            <a:extLst>
              <a:ext uri="{FF2B5EF4-FFF2-40B4-BE49-F238E27FC236}">
                <a16:creationId xmlns:a16="http://schemas.microsoft.com/office/drawing/2014/main" id="{15373DF8-0FA1-4A2E-86EE-B87608E8DF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99" y="2468876"/>
            <a:ext cx="3332163" cy="411162"/>
          </a:xfrm>
          <a:solidFill>
            <a:srgbClr val="B00402">
              <a:alpha val="0"/>
            </a:srgbClr>
          </a:solidFill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9" name="Szöveg helye 3">
            <a:extLst>
              <a:ext uri="{FF2B5EF4-FFF2-40B4-BE49-F238E27FC236}">
                <a16:creationId xmlns:a16="http://schemas.microsoft.com/office/drawing/2014/main" id="{EE4A7E38-2CA4-457C-84BC-307556B415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8" y="3105179"/>
            <a:ext cx="3332163" cy="411162"/>
          </a:xfrm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40" name="Szöveg helye 3">
            <a:extLst>
              <a:ext uri="{FF2B5EF4-FFF2-40B4-BE49-F238E27FC236}">
                <a16:creationId xmlns:a16="http://schemas.microsoft.com/office/drawing/2014/main" id="{31F92E19-15CB-4EC5-9424-C0EF8CE1E3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7999" y="3736258"/>
            <a:ext cx="3332163" cy="411162"/>
          </a:xfrm>
          <a:solidFill>
            <a:srgbClr val="E3E000"/>
          </a:solidFill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18" name="Dátum helye 2">
            <a:extLst>
              <a:ext uri="{FF2B5EF4-FFF2-40B4-BE49-F238E27FC236}">
                <a16:creationId xmlns:a16="http://schemas.microsoft.com/office/drawing/2014/main" id="{A4FBD48B-1BCC-4630-904C-C74294B6E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CB79E06-A793-4C13-AC8A-0FA64010F8B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9" name="Dia számának helye 4">
            <a:extLst>
              <a:ext uri="{FF2B5EF4-FFF2-40B4-BE49-F238E27FC236}">
                <a16:creationId xmlns:a16="http://schemas.microsoft.com/office/drawing/2014/main" id="{06C8D555-A357-4006-9DB0-4DA7BEB532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6555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i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DFB3E749-8314-46CF-888E-56E312B5A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32" name="Téglalap 31">
            <a:extLst>
              <a:ext uri="{FF2B5EF4-FFF2-40B4-BE49-F238E27FC236}">
                <a16:creationId xmlns:a16="http://schemas.microsoft.com/office/drawing/2014/main" id="{3C307B0D-5D82-4BD7-A8C9-CF1C7E8EBCE5}"/>
              </a:ext>
            </a:extLst>
          </p:cNvPr>
          <p:cNvSpPr/>
          <p:nvPr userDrawn="1"/>
        </p:nvSpPr>
        <p:spPr>
          <a:xfrm>
            <a:off x="379764" y="2072733"/>
            <a:ext cx="8301816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3" name="Téglalap 32">
            <a:extLst>
              <a:ext uri="{FF2B5EF4-FFF2-40B4-BE49-F238E27FC236}">
                <a16:creationId xmlns:a16="http://schemas.microsoft.com/office/drawing/2014/main" id="{AA4553F8-58C6-4603-9182-05CAD42C90F1}"/>
              </a:ext>
            </a:extLst>
          </p:cNvPr>
          <p:cNvSpPr/>
          <p:nvPr userDrawn="1"/>
        </p:nvSpPr>
        <p:spPr>
          <a:xfrm>
            <a:off x="379763" y="2703812"/>
            <a:ext cx="8301817" cy="478679"/>
          </a:xfrm>
          <a:prstGeom prst="rect">
            <a:avLst/>
          </a:prstGeom>
          <a:solidFill>
            <a:srgbClr val="E3E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7" name="Szöveg helye 3">
            <a:extLst>
              <a:ext uri="{FF2B5EF4-FFF2-40B4-BE49-F238E27FC236}">
                <a16:creationId xmlns:a16="http://schemas.microsoft.com/office/drawing/2014/main" id="{306F216D-344D-4188-ABD9-3199335206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9764" y="2106491"/>
            <a:ext cx="8301816" cy="411162"/>
          </a:xfrm>
          <a:noFill/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8" name="Szöveg helye 3">
            <a:extLst>
              <a:ext uri="{FF2B5EF4-FFF2-40B4-BE49-F238E27FC236}">
                <a16:creationId xmlns:a16="http://schemas.microsoft.com/office/drawing/2014/main" id="{15373DF8-0FA1-4A2E-86EE-B87608E8DF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764" y="2732346"/>
            <a:ext cx="8301816" cy="411162"/>
          </a:xfrm>
          <a:solidFill>
            <a:srgbClr val="B00402">
              <a:alpha val="0"/>
            </a:srgbClr>
          </a:solidFill>
        </p:spPr>
        <p:txBody>
          <a:bodyPr anchor="ctr"/>
          <a:lstStyle>
            <a:lvl1pPr marL="0" indent="177800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pic>
        <p:nvPicPr>
          <p:cNvPr id="19" name="Bild 3">
            <a:extLst>
              <a:ext uri="{FF2B5EF4-FFF2-40B4-BE49-F238E27FC236}">
                <a16:creationId xmlns:a16="http://schemas.microsoft.com/office/drawing/2014/main" id="{2F6CF62B-3BB1-489E-A231-8687B7EA68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098" y="2001133"/>
            <a:ext cx="609600" cy="609600"/>
          </a:xfrm>
          <a:prstGeom prst="rect">
            <a:avLst/>
          </a:prstGeom>
        </p:spPr>
      </p:pic>
      <p:pic>
        <p:nvPicPr>
          <p:cNvPr id="20" name="Bild 3">
            <a:extLst>
              <a:ext uri="{FF2B5EF4-FFF2-40B4-BE49-F238E27FC236}">
                <a16:creationId xmlns:a16="http://schemas.microsoft.com/office/drawing/2014/main" id="{E3A4F26C-65CC-4E24-A96F-6CC56327E1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981" y="2637871"/>
            <a:ext cx="609600" cy="609600"/>
          </a:xfrm>
          <a:prstGeom prst="rect">
            <a:avLst/>
          </a:prstGeom>
        </p:spPr>
      </p:pic>
      <p:sp>
        <p:nvSpPr>
          <p:cNvPr id="15" name="Cím 1">
            <a:extLst>
              <a:ext uri="{FF2B5EF4-FFF2-40B4-BE49-F238E27FC236}">
                <a16:creationId xmlns:a16="http://schemas.microsoft.com/office/drawing/2014/main" id="{1B46CF27-5528-46CD-B336-744A930BB4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Decisions</a:t>
            </a:r>
            <a:endParaRPr lang="hu-HU" dirty="0"/>
          </a:p>
        </p:txBody>
      </p:sp>
      <p:pic>
        <p:nvPicPr>
          <p:cNvPr id="21" name="Bild 3">
            <a:extLst>
              <a:ext uri="{FF2B5EF4-FFF2-40B4-BE49-F238E27FC236}">
                <a16:creationId xmlns:a16="http://schemas.microsoft.com/office/drawing/2014/main" id="{0CA06B5C-D17A-4E3B-A17E-A58932CF74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8451" y="1123463"/>
            <a:ext cx="609600" cy="609600"/>
          </a:xfrm>
          <a:prstGeom prst="rect">
            <a:avLst/>
          </a:prstGeom>
        </p:spPr>
      </p:pic>
      <p:sp>
        <p:nvSpPr>
          <p:cNvPr id="22" name="Téglalap 21">
            <a:extLst>
              <a:ext uri="{FF2B5EF4-FFF2-40B4-BE49-F238E27FC236}">
                <a16:creationId xmlns:a16="http://schemas.microsoft.com/office/drawing/2014/main" id="{E76930AA-F3CB-4059-A475-DD1A0D46CDB3}"/>
              </a:ext>
            </a:extLst>
          </p:cNvPr>
          <p:cNvSpPr/>
          <p:nvPr userDrawn="1"/>
        </p:nvSpPr>
        <p:spPr>
          <a:xfrm>
            <a:off x="378000" y="1397694"/>
            <a:ext cx="8301816" cy="478679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Szöveg helye 3">
            <a:extLst>
              <a:ext uri="{FF2B5EF4-FFF2-40B4-BE49-F238E27FC236}">
                <a16:creationId xmlns:a16="http://schemas.microsoft.com/office/drawing/2014/main" id="{E2A9D777-2566-43BD-ABA8-225490B9D7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8000" y="1431452"/>
            <a:ext cx="8301816" cy="411162"/>
          </a:xfrm>
          <a:noFill/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pic>
        <p:nvPicPr>
          <p:cNvPr id="24" name="Bild 3">
            <a:extLst>
              <a:ext uri="{FF2B5EF4-FFF2-40B4-BE49-F238E27FC236}">
                <a16:creationId xmlns:a16="http://schemas.microsoft.com/office/drawing/2014/main" id="{F64B759D-9809-43D7-8534-012C79A763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334" y="1326094"/>
            <a:ext cx="609600" cy="609600"/>
          </a:xfrm>
          <a:prstGeom prst="rect">
            <a:avLst/>
          </a:prstGeom>
        </p:spPr>
      </p:pic>
      <p:sp>
        <p:nvSpPr>
          <p:cNvPr id="18" name="Dátum helye 2">
            <a:extLst>
              <a:ext uri="{FF2B5EF4-FFF2-40B4-BE49-F238E27FC236}">
                <a16:creationId xmlns:a16="http://schemas.microsoft.com/office/drawing/2014/main" id="{FFBF412A-D999-4146-AE3F-9838D4C821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A61EC5F-44A1-4A35-B24D-5D1A457409E7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5" name="Dia számának helye 4">
            <a:extLst>
              <a:ext uri="{FF2B5EF4-FFF2-40B4-BE49-F238E27FC236}">
                <a16:creationId xmlns:a16="http://schemas.microsoft.com/office/drawing/2014/main" id="{6B22FA67-A681-4755-B0F2-6D60EC9D4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87730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s, lis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F1370690-7827-43D5-8E42-B1DD835B73D3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Hints, </a:t>
            </a:r>
            <a:r>
              <a:rPr lang="hu-HU" dirty="0" err="1"/>
              <a:t>list</a:t>
            </a:r>
            <a:endParaRPr lang="en-GB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35346485-2810-44AE-8B44-02B828F52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" name="Téglalap 1">
            <a:extLst>
              <a:ext uri="{FF2B5EF4-FFF2-40B4-BE49-F238E27FC236}">
                <a16:creationId xmlns:a16="http://schemas.microsoft.com/office/drawing/2014/main" id="{16FC94F2-B265-4BC8-BC21-F0A5C43AD939}"/>
              </a:ext>
            </a:extLst>
          </p:cNvPr>
          <p:cNvSpPr/>
          <p:nvPr userDrawn="1"/>
        </p:nvSpPr>
        <p:spPr>
          <a:xfrm>
            <a:off x="377999" y="1178184"/>
            <a:ext cx="3555762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3C13E025-E610-46B3-B68E-51C31A60284E}"/>
              </a:ext>
            </a:extLst>
          </p:cNvPr>
          <p:cNvSpPr/>
          <p:nvPr userDrawn="1"/>
        </p:nvSpPr>
        <p:spPr>
          <a:xfrm>
            <a:off x="377999" y="1809263"/>
            <a:ext cx="3555762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Téglalap 17">
            <a:extLst>
              <a:ext uri="{FF2B5EF4-FFF2-40B4-BE49-F238E27FC236}">
                <a16:creationId xmlns:a16="http://schemas.microsoft.com/office/drawing/2014/main" id="{9E648DD0-542C-4547-8277-3813BD11B275}"/>
              </a:ext>
            </a:extLst>
          </p:cNvPr>
          <p:cNvSpPr/>
          <p:nvPr userDrawn="1"/>
        </p:nvSpPr>
        <p:spPr>
          <a:xfrm>
            <a:off x="377999" y="2440342"/>
            <a:ext cx="3555762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0FDEA4BD-9BBD-4E52-8D62-E25DB54130EB}"/>
              </a:ext>
            </a:extLst>
          </p:cNvPr>
          <p:cNvSpPr/>
          <p:nvPr userDrawn="1"/>
        </p:nvSpPr>
        <p:spPr>
          <a:xfrm>
            <a:off x="377999" y="3071421"/>
            <a:ext cx="3555762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Téglalap 19">
            <a:extLst>
              <a:ext uri="{FF2B5EF4-FFF2-40B4-BE49-F238E27FC236}">
                <a16:creationId xmlns:a16="http://schemas.microsoft.com/office/drawing/2014/main" id="{88A274D7-7D91-451F-B2DB-A5A09505C3CD}"/>
              </a:ext>
            </a:extLst>
          </p:cNvPr>
          <p:cNvSpPr/>
          <p:nvPr userDrawn="1"/>
        </p:nvSpPr>
        <p:spPr>
          <a:xfrm>
            <a:off x="377999" y="3702500"/>
            <a:ext cx="3555762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982B0A8B-29A2-473D-B7B6-E6DB3DB0C3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999" y="1211942"/>
            <a:ext cx="3332163" cy="411162"/>
          </a:xfrm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C4A1AC1C-CF73-44D0-BAF4-DFB89AEFC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999" y="1843021"/>
            <a:ext cx="3332163" cy="411162"/>
          </a:xfrm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8" name="Szöveg helye 3">
            <a:extLst>
              <a:ext uri="{FF2B5EF4-FFF2-40B4-BE49-F238E27FC236}">
                <a16:creationId xmlns:a16="http://schemas.microsoft.com/office/drawing/2014/main" id="{2E7B42BA-1948-4659-8690-9C6A167C16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99" y="2468876"/>
            <a:ext cx="3332163" cy="411162"/>
          </a:xfrm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9" name="Szöveg helye 3">
            <a:extLst>
              <a:ext uri="{FF2B5EF4-FFF2-40B4-BE49-F238E27FC236}">
                <a16:creationId xmlns:a16="http://schemas.microsoft.com/office/drawing/2014/main" id="{362693DF-30B6-42ED-BAE5-D1A0897C5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8" y="3105179"/>
            <a:ext cx="3332163" cy="411162"/>
          </a:xfrm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0" name="Szöveg helye 3">
            <a:extLst>
              <a:ext uri="{FF2B5EF4-FFF2-40B4-BE49-F238E27FC236}">
                <a16:creationId xmlns:a16="http://schemas.microsoft.com/office/drawing/2014/main" id="{4F83C19A-AD39-49EC-B670-B2BA484981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7999" y="3736258"/>
            <a:ext cx="3332163" cy="411162"/>
          </a:xfrm>
        </p:spPr>
        <p:txBody>
          <a:bodyPr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1" name="Dátum helye 2">
            <a:extLst>
              <a:ext uri="{FF2B5EF4-FFF2-40B4-BE49-F238E27FC236}">
                <a16:creationId xmlns:a16="http://schemas.microsoft.com/office/drawing/2014/main" id="{43F3C4D9-0490-4946-8CA0-214DA6F430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911AA56-4F1A-4547-92EB-31326AC8436F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2" name="Dia számának helye 4">
            <a:extLst>
              <a:ext uri="{FF2B5EF4-FFF2-40B4-BE49-F238E27FC236}">
                <a16:creationId xmlns:a16="http://schemas.microsoft.com/office/drawing/2014/main" id="{7C345BF6-3739-414D-A848-F74D88ACF5B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68810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s, lis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35346485-2810-44AE-8B44-02B828F52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" name="Téglalap 1">
            <a:extLst>
              <a:ext uri="{FF2B5EF4-FFF2-40B4-BE49-F238E27FC236}">
                <a16:creationId xmlns:a16="http://schemas.microsoft.com/office/drawing/2014/main" id="{16FC94F2-B265-4BC8-BC21-F0A5C43AD939}"/>
              </a:ext>
            </a:extLst>
          </p:cNvPr>
          <p:cNvSpPr/>
          <p:nvPr userDrawn="1"/>
        </p:nvSpPr>
        <p:spPr>
          <a:xfrm>
            <a:off x="0" y="1178184"/>
            <a:ext cx="9143999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3C13E025-E610-46B3-B68E-51C31A60284E}"/>
              </a:ext>
            </a:extLst>
          </p:cNvPr>
          <p:cNvSpPr/>
          <p:nvPr userDrawn="1"/>
        </p:nvSpPr>
        <p:spPr>
          <a:xfrm>
            <a:off x="0" y="1809263"/>
            <a:ext cx="9143999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Téglalap 17">
            <a:extLst>
              <a:ext uri="{FF2B5EF4-FFF2-40B4-BE49-F238E27FC236}">
                <a16:creationId xmlns:a16="http://schemas.microsoft.com/office/drawing/2014/main" id="{9E648DD0-542C-4547-8277-3813BD11B275}"/>
              </a:ext>
            </a:extLst>
          </p:cNvPr>
          <p:cNvSpPr/>
          <p:nvPr userDrawn="1"/>
        </p:nvSpPr>
        <p:spPr>
          <a:xfrm>
            <a:off x="0" y="2440342"/>
            <a:ext cx="9143999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0FDEA4BD-9BBD-4E52-8D62-E25DB54130EB}"/>
              </a:ext>
            </a:extLst>
          </p:cNvPr>
          <p:cNvSpPr/>
          <p:nvPr userDrawn="1"/>
        </p:nvSpPr>
        <p:spPr>
          <a:xfrm>
            <a:off x="0" y="3071421"/>
            <a:ext cx="9143999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Téglalap 19">
            <a:extLst>
              <a:ext uri="{FF2B5EF4-FFF2-40B4-BE49-F238E27FC236}">
                <a16:creationId xmlns:a16="http://schemas.microsoft.com/office/drawing/2014/main" id="{88A274D7-7D91-451F-B2DB-A5A09505C3CD}"/>
              </a:ext>
            </a:extLst>
          </p:cNvPr>
          <p:cNvSpPr/>
          <p:nvPr userDrawn="1"/>
        </p:nvSpPr>
        <p:spPr>
          <a:xfrm>
            <a:off x="0" y="3702500"/>
            <a:ext cx="9143999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982B0A8B-29A2-473D-B7B6-E6DB3DB0C3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" y="1211942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C4A1AC1C-CF73-44D0-BAF4-DFB89AEFC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43021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8" name="Szöveg helye 3">
            <a:extLst>
              <a:ext uri="{FF2B5EF4-FFF2-40B4-BE49-F238E27FC236}">
                <a16:creationId xmlns:a16="http://schemas.microsoft.com/office/drawing/2014/main" id="{2E7B42BA-1948-4659-8690-9C6A167C16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68876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9" name="Szöveg helye 3">
            <a:extLst>
              <a:ext uri="{FF2B5EF4-FFF2-40B4-BE49-F238E27FC236}">
                <a16:creationId xmlns:a16="http://schemas.microsoft.com/office/drawing/2014/main" id="{362693DF-30B6-42ED-BAE5-D1A0897C5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105179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0" name="Szöveg helye 3">
            <a:extLst>
              <a:ext uri="{FF2B5EF4-FFF2-40B4-BE49-F238E27FC236}">
                <a16:creationId xmlns:a16="http://schemas.microsoft.com/office/drawing/2014/main" id="{4F83C19A-AD39-49EC-B670-B2BA484981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" y="3736258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1" name="Cím 1">
            <a:extLst>
              <a:ext uri="{FF2B5EF4-FFF2-40B4-BE49-F238E27FC236}">
                <a16:creationId xmlns:a16="http://schemas.microsoft.com/office/drawing/2014/main" id="{F95526F5-2993-40AC-A6CB-374166CED6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Hints, </a:t>
            </a:r>
            <a:r>
              <a:rPr lang="hu-HU" dirty="0" err="1"/>
              <a:t>list</a:t>
            </a:r>
            <a:r>
              <a:rPr lang="hu-HU" dirty="0"/>
              <a:t> 1/2</a:t>
            </a:r>
          </a:p>
        </p:txBody>
      </p:sp>
      <p:sp>
        <p:nvSpPr>
          <p:cNvPr id="15" name="Dátum helye 2">
            <a:extLst>
              <a:ext uri="{FF2B5EF4-FFF2-40B4-BE49-F238E27FC236}">
                <a16:creationId xmlns:a16="http://schemas.microsoft.com/office/drawing/2014/main" id="{2AB35A0C-8E6B-480E-BDB6-83E7359B52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1D994A4-9D6B-4010-8A35-B30DC9851CF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7" name="Dia számának helye 4">
            <a:extLst>
              <a:ext uri="{FF2B5EF4-FFF2-40B4-BE49-F238E27FC236}">
                <a16:creationId xmlns:a16="http://schemas.microsoft.com/office/drawing/2014/main" id="{DD057979-E6EC-429D-B3CF-CA3330339E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1786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s, list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35346485-2810-44AE-8B44-02B828F52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" name="Téglalap 1">
            <a:extLst>
              <a:ext uri="{FF2B5EF4-FFF2-40B4-BE49-F238E27FC236}">
                <a16:creationId xmlns:a16="http://schemas.microsoft.com/office/drawing/2014/main" id="{16FC94F2-B265-4BC8-BC21-F0A5C43AD939}"/>
              </a:ext>
            </a:extLst>
          </p:cNvPr>
          <p:cNvSpPr/>
          <p:nvPr userDrawn="1"/>
        </p:nvSpPr>
        <p:spPr>
          <a:xfrm>
            <a:off x="0" y="1178184"/>
            <a:ext cx="9143999" cy="478679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3C13E025-E610-46B3-B68E-51C31A60284E}"/>
              </a:ext>
            </a:extLst>
          </p:cNvPr>
          <p:cNvSpPr/>
          <p:nvPr userDrawn="1"/>
        </p:nvSpPr>
        <p:spPr>
          <a:xfrm>
            <a:off x="0" y="1809263"/>
            <a:ext cx="9143999" cy="478679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Téglalap 17">
            <a:extLst>
              <a:ext uri="{FF2B5EF4-FFF2-40B4-BE49-F238E27FC236}">
                <a16:creationId xmlns:a16="http://schemas.microsoft.com/office/drawing/2014/main" id="{9E648DD0-542C-4547-8277-3813BD11B275}"/>
              </a:ext>
            </a:extLst>
          </p:cNvPr>
          <p:cNvSpPr/>
          <p:nvPr userDrawn="1"/>
        </p:nvSpPr>
        <p:spPr>
          <a:xfrm>
            <a:off x="0" y="2440342"/>
            <a:ext cx="9143999" cy="478679"/>
          </a:xfrm>
          <a:prstGeom prst="rect">
            <a:avLst/>
          </a:prstGeom>
          <a:solidFill>
            <a:srgbClr val="B00402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0FDEA4BD-9BBD-4E52-8D62-E25DB54130EB}"/>
              </a:ext>
            </a:extLst>
          </p:cNvPr>
          <p:cNvSpPr/>
          <p:nvPr userDrawn="1"/>
        </p:nvSpPr>
        <p:spPr>
          <a:xfrm>
            <a:off x="0" y="3071421"/>
            <a:ext cx="9143999" cy="478679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Téglalap 19">
            <a:extLst>
              <a:ext uri="{FF2B5EF4-FFF2-40B4-BE49-F238E27FC236}">
                <a16:creationId xmlns:a16="http://schemas.microsoft.com/office/drawing/2014/main" id="{88A274D7-7D91-451F-B2DB-A5A09505C3CD}"/>
              </a:ext>
            </a:extLst>
          </p:cNvPr>
          <p:cNvSpPr/>
          <p:nvPr userDrawn="1"/>
        </p:nvSpPr>
        <p:spPr>
          <a:xfrm>
            <a:off x="0" y="3702500"/>
            <a:ext cx="9143999" cy="478679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982B0A8B-29A2-473D-B7B6-E6DB3DB0C3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" y="1211942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C4A1AC1C-CF73-44D0-BAF4-DFB89AEFC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43021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8" name="Szöveg helye 3">
            <a:extLst>
              <a:ext uri="{FF2B5EF4-FFF2-40B4-BE49-F238E27FC236}">
                <a16:creationId xmlns:a16="http://schemas.microsoft.com/office/drawing/2014/main" id="{2E7B42BA-1948-4659-8690-9C6A167C16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68876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9" name="Szöveg helye 3">
            <a:extLst>
              <a:ext uri="{FF2B5EF4-FFF2-40B4-BE49-F238E27FC236}">
                <a16:creationId xmlns:a16="http://schemas.microsoft.com/office/drawing/2014/main" id="{362693DF-30B6-42ED-BAE5-D1A0897C5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105179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0" name="Szöveg helye 3">
            <a:extLst>
              <a:ext uri="{FF2B5EF4-FFF2-40B4-BE49-F238E27FC236}">
                <a16:creationId xmlns:a16="http://schemas.microsoft.com/office/drawing/2014/main" id="{4F83C19A-AD39-49EC-B670-B2BA484981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" y="3736258"/>
            <a:ext cx="8592762" cy="411162"/>
          </a:xfrm>
        </p:spPr>
        <p:txBody>
          <a:bodyPr lIns="216000" anchor="ctr"/>
          <a:lstStyle>
            <a:lvl1pPr marL="0" indent="177800">
              <a:defRPr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1" name="Cím 1">
            <a:extLst>
              <a:ext uri="{FF2B5EF4-FFF2-40B4-BE49-F238E27FC236}">
                <a16:creationId xmlns:a16="http://schemas.microsoft.com/office/drawing/2014/main" id="{B021ADA5-B477-4D54-9ADC-0C0433BE99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Hints, </a:t>
            </a:r>
            <a:r>
              <a:rPr lang="hu-HU" dirty="0" err="1"/>
              <a:t>list</a:t>
            </a:r>
            <a:r>
              <a:rPr lang="hu-HU" dirty="0"/>
              <a:t> 2/2</a:t>
            </a:r>
          </a:p>
        </p:txBody>
      </p:sp>
      <p:sp>
        <p:nvSpPr>
          <p:cNvPr id="22" name="Dátum helye 2">
            <a:extLst>
              <a:ext uri="{FF2B5EF4-FFF2-40B4-BE49-F238E27FC236}">
                <a16:creationId xmlns:a16="http://schemas.microsoft.com/office/drawing/2014/main" id="{FE80E561-5155-43C5-BCF6-2227D23DB0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48F6085D-FF3F-41B4-AAB8-214246A30834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3" name="Dia számának helye 4">
            <a:extLst>
              <a:ext uri="{FF2B5EF4-FFF2-40B4-BE49-F238E27FC236}">
                <a16:creationId xmlns:a16="http://schemas.microsoft.com/office/drawing/2014/main" id="{71E8B385-9DCD-4BD0-BC2D-289F5F1101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4444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8">
            <a:extLst>
              <a:ext uri="{FF2B5EF4-FFF2-40B4-BE49-F238E27FC236}">
                <a16:creationId xmlns:a16="http://schemas.microsoft.com/office/drawing/2014/main" id="{AF1A0D7A-C5E3-48BB-96C3-A8C400C70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1806300"/>
            <a:ext cx="4572000" cy="3337200"/>
          </a:xfrm>
          <a:solidFill>
            <a:srgbClr val="FF0000"/>
          </a:solidFill>
        </p:spPr>
        <p:txBody>
          <a:bodyPr lIns="360000" tIns="360000"/>
          <a:lstStyle>
            <a:lvl1pPr>
              <a:spcAft>
                <a:spcPts val="0"/>
              </a:spcAft>
              <a:defRPr sz="32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hu-HU" dirty="0" err="1"/>
              <a:t>To</a:t>
            </a:r>
            <a:endParaRPr lang="hu-HU" dirty="0"/>
          </a:p>
        </p:txBody>
      </p:sp>
      <p:sp>
        <p:nvSpPr>
          <p:cNvPr id="9" name="Szöveg helye 8">
            <a:extLst>
              <a:ext uri="{FF2B5EF4-FFF2-40B4-BE49-F238E27FC236}">
                <a16:creationId xmlns:a16="http://schemas.microsoft.com/office/drawing/2014/main" id="{53228D48-C09A-4ADB-ADE2-3DBB8B7D0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2" y="1806300"/>
            <a:ext cx="4572000" cy="3337200"/>
          </a:xfrm>
          <a:solidFill>
            <a:srgbClr val="E3E000"/>
          </a:solidFill>
        </p:spPr>
        <p:txBody>
          <a:bodyPr lIns="360000" tIns="18000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3200">
                <a:solidFill>
                  <a:srgbClr val="C00000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3pPr>
          </a:lstStyle>
          <a:p>
            <a:pPr lvl="0"/>
            <a:r>
              <a:rPr lang="hu-HU" dirty="0" err="1"/>
              <a:t>From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0D5601EB-9971-431C-AF3F-9B4E34598D6F}"/>
              </a:ext>
            </a:extLst>
          </p:cNvPr>
          <p:cNvSpPr txBox="1">
            <a:spLocks/>
          </p:cNvSpPr>
          <p:nvPr userDrawn="1"/>
        </p:nvSpPr>
        <p:spPr>
          <a:xfrm>
            <a:off x="8374133" y="4808669"/>
            <a:ext cx="305683" cy="2802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ts val="1125"/>
              </a:lnSpc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hu-HU" sz="900" dirty="0">
                <a:solidFill>
                  <a:schemeClr val="tx1"/>
                </a:solidFill>
                <a:latin typeface="+mn-lt"/>
              </a:rPr>
              <a:t>13</a:t>
            </a:r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4C4C1786-DA0C-4552-AB27-19495D4C101E}"/>
              </a:ext>
            </a:extLst>
          </p:cNvPr>
          <p:cNvSpPr txBox="1">
            <a:spLocks/>
          </p:cNvSpPr>
          <p:nvPr userDrawn="1"/>
        </p:nvSpPr>
        <p:spPr>
          <a:xfrm>
            <a:off x="7636569" y="4808669"/>
            <a:ext cx="737564" cy="2802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ts val="1125"/>
              </a:lnSpc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hu-HU" sz="900" dirty="0">
                <a:solidFill>
                  <a:schemeClr val="tx1"/>
                </a:solidFill>
                <a:latin typeface="+mn-lt"/>
              </a:rPr>
              <a:t>23.01.17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4B9E0A1-E752-4C0D-9B64-7CB20CBC6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78000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1" name="Cím 1">
            <a:extLst>
              <a:ext uri="{FF2B5EF4-FFF2-40B4-BE49-F238E27FC236}">
                <a16:creationId xmlns:a16="http://schemas.microsoft.com/office/drawing/2014/main" id="{BD82C0A0-4B79-4670-BB1E-8DD0302FEA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Development</a:t>
            </a:r>
            <a:endParaRPr lang="hu-HU" dirty="0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8FBA9678-F112-4286-AF3B-146F71EC04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8000" y="2453571"/>
            <a:ext cx="1908280" cy="954048"/>
          </a:xfrm>
        </p:spPr>
        <p:txBody>
          <a:bodyPr lIns="0" tIns="0" bIns="0" anchor="t"/>
          <a:lstStyle>
            <a:lvl1pPr>
              <a:spcAft>
                <a:spcPts val="0"/>
              </a:spcAft>
              <a:defRPr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A4BAB3EE-DE4C-4027-90B0-600DEABA85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31860" y="2453571"/>
            <a:ext cx="1908280" cy="954048"/>
          </a:xfrm>
        </p:spPr>
        <p:txBody>
          <a:bodyPr lIns="0" tIns="0" bIns="0" anchor="t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3" name="Háromszög 12">
            <a:extLst>
              <a:ext uri="{FF2B5EF4-FFF2-40B4-BE49-F238E27FC236}">
                <a16:creationId xmlns:a16="http://schemas.microsoft.com/office/drawing/2014/main" id="{6D67B3B2-16D5-4BF2-A311-AB4972738A05}"/>
              </a:ext>
            </a:extLst>
          </p:cNvPr>
          <p:cNvSpPr/>
          <p:nvPr userDrawn="1"/>
        </p:nvSpPr>
        <p:spPr>
          <a:xfrm rot="5400000">
            <a:off x="4461554" y="3416158"/>
            <a:ext cx="462335" cy="241443"/>
          </a:xfrm>
          <a:prstGeom prst="triangle">
            <a:avLst>
              <a:gd name="adj" fmla="val 4836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827378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m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8">
            <a:extLst>
              <a:ext uri="{FF2B5EF4-FFF2-40B4-BE49-F238E27FC236}">
                <a16:creationId xmlns:a16="http://schemas.microsoft.com/office/drawing/2014/main" id="{AF1A0D7A-C5E3-48BB-96C3-A8C400C70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445" y="1808018"/>
            <a:ext cx="4967553" cy="3335482"/>
          </a:xfrm>
          <a:solidFill>
            <a:srgbClr val="FF0000"/>
          </a:solidFill>
        </p:spPr>
        <p:txBody>
          <a:bodyPr lIns="720000" tIns="180000"/>
          <a:lstStyle>
            <a:lvl1pPr marL="0" indent="0"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hu-HU" dirty="0" err="1"/>
              <a:t>To</a:t>
            </a:r>
            <a:endParaRPr lang="hu-HU" dirty="0"/>
          </a:p>
          <a:p>
            <a:pPr lvl="0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E39DD7E8-F82E-4BE5-A5C9-B9EB231DBB35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Development</a:t>
            </a:r>
            <a:endParaRPr lang="en-GB" dirty="0"/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15680477-4C8D-44CB-8F71-3C452BBA3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" name="Nyíl: ötszög 1">
            <a:extLst>
              <a:ext uri="{FF2B5EF4-FFF2-40B4-BE49-F238E27FC236}">
                <a16:creationId xmlns:a16="http://schemas.microsoft.com/office/drawing/2014/main" id="{65F51E3E-8E46-4EE6-8001-7ED86C4188D5}"/>
              </a:ext>
            </a:extLst>
          </p:cNvPr>
          <p:cNvSpPr/>
          <p:nvPr userDrawn="1"/>
        </p:nvSpPr>
        <p:spPr>
          <a:xfrm>
            <a:off x="0" y="1811792"/>
            <a:ext cx="4906369" cy="3331708"/>
          </a:xfrm>
          <a:custGeom>
            <a:avLst/>
            <a:gdLst>
              <a:gd name="connsiteX0" fmla="*/ 0 w 5868537"/>
              <a:gd name="connsiteY0" fmla="*/ 0 h 3331708"/>
              <a:gd name="connsiteX1" fmla="*/ 4202683 w 5868537"/>
              <a:gd name="connsiteY1" fmla="*/ 0 h 3331708"/>
              <a:gd name="connsiteX2" fmla="*/ 5868537 w 5868537"/>
              <a:gd name="connsiteY2" fmla="*/ 1665854 h 3331708"/>
              <a:gd name="connsiteX3" fmla="*/ 4202683 w 5868537"/>
              <a:gd name="connsiteY3" fmla="*/ 3331708 h 3331708"/>
              <a:gd name="connsiteX4" fmla="*/ 0 w 5868537"/>
              <a:gd name="connsiteY4" fmla="*/ 3331708 h 3331708"/>
              <a:gd name="connsiteX5" fmla="*/ 0 w 5868537"/>
              <a:gd name="connsiteY5" fmla="*/ 0 h 3331708"/>
              <a:gd name="connsiteX0" fmla="*/ 0 w 4906369"/>
              <a:gd name="connsiteY0" fmla="*/ 0 h 3331708"/>
              <a:gd name="connsiteX1" fmla="*/ 4202683 w 4906369"/>
              <a:gd name="connsiteY1" fmla="*/ 0 h 3331708"/>
              <a:gd name="connsiteX2" fmla="*/ 4906369 w 4906369"/>
              <a:gd name="connsiteY2" fmla="*/ 1665854 h 3331708"/>
              <a:gd name="connsiteX3" fmla="*/ 4202683 w 4906369"/>
              <a:gd name="connsiteY3" fmla="*/ 3331708 h 3331708"/>
              <a:gd name="connsiteX4" fmla="*/ 0 w 4906369"/>
              <a:gd name="connsiteY4" fmla="*/ 3331708 h 3331708"/>
              <a:gd name="connsiteX5" fmla="*/ 0 w 4906369"/>
              <a:gd name="connsiteY5" fmla="*/ 0 h 3331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06369" h="3331708">
                <a:moveTo>
                  <a:pt x="0" y="0"/>
                </a:moveTo>
                <a:lnTo>
                  <a:pt x="4202683" y="0"/>
                </a:lnTo>
                <a:lnTo>
                  <a:pt x="4906369" y="1665854"/>
                </a:lnTo>
                <a:lnTo>
                  <a:pt x="4202683" y="3331708"/>
                </a:lnTo>
                <a:lnTo>
                  <a:pt x="0" y="3331708"/>
                </a:lnTo>
                <a:lnTo>
                  <a:pt x="0" y="0"/>
                </a:lnTo>
                <a:close/>
              </a:path>
            </a:pathLst>
          </a:cu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3CB4DD4D-E763-4340-A808-7257A3B35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827327"/>
            <a:ext cx="1860550" cy="1211262"/>
          </a:xfrm>
        </p:spPr>
        <p:txBody>
          <a:bodyPr lIns="360000" tIns="180000"/>
          <a:lstStyle>
            <a:lvl1pPr>
              <a:spcBef>
                <a:spcPts val="600"/>
              </a:spcBef>
              <a:spcAft>
                <a:spcPts val="0"/>
              </a:spcAft>
              <a:defRPr>
                <a:solidFill>
                  <a:srgbClr val="B00402"/>
                </a:solidFill>
                <a:latin typeface="+mj-lt"/>
              </a:defRPr>
            </a:lvl1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 marL="644526" indent="-28575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</a:lstStyle>
          <a:p>
            <a:pPr lvl="0"/>
            <a:r>
              <a:rPr lang="hu-HU" dirty="0" err="1"/>
              <a:t>From</a:t>
            </a:r>
            <a:endParaRPr lang="hu-HU" dirty="0"/>
          </a:p>
          <a:p>
            <a:pPr lvl="0"/>
            <a:r>
              <a:rPr lang="hu-HU" dirty="0" err="1"/>
              <a:t>Level</a:t>
            </a:r>
            <a:r>
              <a:rPr lang="hu-HU" dirty="0"/>
              <a:t> 0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9" name="Dátum helye 2">
            <a:extLst>
              <a:ext uri="{FF2B5EF4-FFF2-40B4-BE49-F238E27FC236}">
                <a16:creationId xmlns:a16="http://schemas.microsoft.com/office/drawing/2014/main" id="{84576AAF-5191-454D-A197-80E7BE07BE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1F83903B-B41D-4F93-81E3-32D6632C419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1" name="Dia számának helye 4">
            <a:extLst>
              <a:ext uri="{FF2B5EF4-FFF2-40B4-BE49-F238E27FC236}">
                <a16:creationId xmlns:a16="http://schemas.microsoft.com/office/drawing/2014/main" id="{348B4CED-414E-47E4-A6C1-A84CCF0CC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6317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églalap 15">
            <a:extLst>
              <a:ext uri="{FF2B5EF4-FFF2-40B4-BE49-F238E27FC236}">
                <a16:creationId xmlns:a16="http://schemas.microsoft.com/office/drawing/2014/main" id="{F0155A44-B76C-4180-AE95-1D18588F51AC}"/>
              </a:ext>
            </a:extLst>
          </p:cNvPr>
          <p:cNvSpPr/>
          <p:nvPr userDrawn="1"/>
        </p:nvSpPr>
        <p:spPr>
          <a:xfrm>
            <a:off x="382300" y="1381562"/>
            <a:ext cx="1129977" cy="965795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Folyamatábra: Adatok 18">
            <a:extLst>
              <a:ext uri="{FF2B5EF4-FFF2-40B4-BE49-F238E27FC236}">
                <a16:creationId xmlns:a16="http://schemas.microsoft.com/office/drawing/2014/main" id="{D239A997-0305-4A73-819B-191F4FB38565}"/>
              </a:ext>
            </a:extLst>
          </p:cNvPr>
          <p:cNvSpPr/>
          <p:nvPr userDrawn="1"/>
        </p:nvSpPr>
        <p:spPr>
          <a:xfrm>
            <a:off x="740653" y="1379461"/>
            <a:ext cx="4124374" cy="96281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69"/>
              <a:gd name="connsiteY0" fmla="*/ 5891 h 10000"/>
              <a:gd name="connsiteX1" fmla="*/ 1369 w 9369"/>
              <a:gd name="connsiteY1" fmla="*/ 0 h 10000"/>
              <a:gd name="connsiteX2" fmla="*/ 9369 w 9369"/>
              <a:gd name="connsiteY2" fmla="*/ 0 h 10000"/>
              <a:gd name="connsiteX3" fmla="*/ 7369 w 9369"/>
              <a:gd name="connsiteY3" fmla="*/ 10000 h 10000"/>
              <a:gd name="connsiteX4" fmla="*/ 0 w 9369"/>
              <a:gd name="connsiteY4" fmla="*/ 5891 h 10000"/>
              <a:gd name="connsiteX0" fmla="*/ 0 w 10505"/>
              <a:gd name="connsiteY0" fmla="*/ 6201 h 10000"/>
              <a:gd name="connsiteX1" fmla="*/ 1966 w 10505"/>
              <a:gd name="connsiteY1" fmla="*/ 0 h 10000"/>
              <a:gd name="connsiteX2" fmla="*/ 10505 w 10505"/>
              <a:gd name="connsiteY2" fmla="*/ 0 h 10000"/>
              <a:gd name="connsiteX3" fmla="*/ 8370 w 10505"/>
              <a:gd name="connsiteY3" fmla="*/ 10000 h 10000"/>
              <a:gd name="connsiteX4" fmla="*/ 0 w 10505"/>
              <a:gd name="connsiteY4" fmla="*/ 6201 h 10000"/>
              <a:gd name="connsiteX0" fmla="*/ 0 w 10505"/>
              <a:gd name="connsiteY0" fmla="*/ 6201 h 6201"/>
              <a:gd name="connsiteX1" fmla="*/ 1966 w 10505"/>
              <a:gd name="connsiteY1" fmla="*/ 0 h 6201"/>
              <a:gd name="connsiteX2" fmla="*/ 10505 w 10505"/>
              <a:gd name="connsiteY2" fmla="*/ 0 h 6201"/>
              <a:gd name="connsiteX3" fmla="*/ 9135 w 10505"/>
              <a:gd name="connsiteY3" fmla="*/ 6124 h 6201"/>
              <a:gd name="connsiteX4" fmla="*/ 0 w 10505"/>
              <a:gd name="connsiteY4" fmla="*/ 6201 h 6201"/>
              <a:gd name="connsiteX0" fmla="*/ 0 w 10116"/>
              <a:gd name="connsiteY0" fmla="*/ 10000 h 10000"/>
              <a:gd name="connsiteX1" fmla="*/ 1871 w 10116"/>
              <a:gd name="connsiteY1" fmla="*/ 0 h 10000"/>
              <a:gd name="connsiteX2" fmla="*/ 10116 w 10116"/>
              <a:gd name="connsiteY2" fmla="*/ 71 h 10000"/>
              <a:gd name="connsiteX3" fmla="*/ 8696 w 10116"/>
              <a:gd name="connsiteY3" fmla="*/ 9876 h 10000"/>
              <a:gd name="connsiteX4" fmla="*/ 0 w 10116"/>
              <a:gd name="connsiteY4" fmla="*/ 10000 h 10000"/>
              <a:gd name="connsiteX0" fmla="*/ 0 w 10049"/>
              <a:gd name="connsiteY0" fmla="*/ 10000 h 10000"/>
              <a:gd name="connsiteX1" fmla="*/ 1871 w 10049"/>
              <a:gd name="connsiteY1" fmla="*/ 0 h 10000"/>
              <a:gd name="connsiteX2" fmla="*/ 10049 w 10049"/>
              <a:gd name="connsiteY2" fmla="*/ 142 h 10000"/>
              <a:gd name="connsiteX3" fmla="*/ 8696 w 10049"/>
              <a:gd name="connsiteY3" fmla="*/ 9876 h 10000"/>
              <a:gd name="connsiteX4" fmla="*/ 0 w 10049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9" h="10000">
                <a:moveTo>
                  <a:pt x="0" y="10000"/>
                </a:moveTo>
                <a:lnTo>
                  <a:pt x="1871" y="0"/>
                </a:lnTo>
                <a:lnTo>
                  <a:pt x="10049" y="142"/>
                </a:lnTo>
                <a:lnTo>
                  <a:pt x="8696" y="9876"/>
                </a:lnTo>
                <a:lnTo>
                  <a:pt x="0" y="1000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Folyamatábra: Adatok 20">
            <a:extLst>
              <a:ext uri="{FF2B5EF4-FFF2-40B4-BE49-F238E27FC236}">
                <a16:creationId xmlns:a16="http://schemas.microsoft.com/office/drawing/2014/main" id="{899E4CE2-A141-47DF-871F-87BB6C42AF67}"/>
              </a:ext>
            </a:extLst>
          </p:cNvPr>
          <p:cNvSpPr/>
          <p:nvPr userDrawn="1"/>
        </p:nvSpPr>
        <p:spPr>
          <a:xfrm>
            <a:off x="4433553" y="1394681"/>
            <a:ext cx="2792220" cy="940930"/>
          </a:xfrm>
          <a:prstGeom prst="flowChartInputOutpu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2" name="Téglalap 21">
            <a:extLst>
              <a:ext uri="{FF2B5EF4-FFF2-40B4-BE49-F238E27FC236}">
                <a16:creationId xmlns:a16="http://schemas.microsoft.com/office/drawing/2014/main" id="{76B5AD91-FE67-4A28-AF45-E90A3F6D36A6}"/>
              </a:ext>
            </a:extLst>
          </p:cNvPr>
          <p:cNvSpPr/>
          <p:nvPr userDrawn="1"/>
        </p:nvSpPr>
        <p:spPr>
          <a:xfrm>
            <a:off x="6542148" y="1394681"/>
            <a:ext cx="683625" cy="94093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Téglalap 23">
            <a:extLst>
              <a:ext uri="{FF2B5EF4-FFF2-40B4-BE49-F238E27FC236}">
                <a16:creationId xmlns:a16="http://schemas.microsoft.com/office/drawing/2014/main" id="{FA2417D8-A314-4C62-B497-7C16B7FDDD61}"/>
              </a:ext>
            </a:extLst>
          </p:cNvPr>
          <p:cNvSpPr/>
          <p:nvPr userDrawn="1"/>
        </p:nvSpPr>
        <p:spPr>
          <a:xfrm>
            <a:off x="382300" y="2466124"/>
            <a:ext cx="532100" cy="968775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5" name="Folyamatábra: Adatok 24">
            <a:extLst>
              <a:ext uri="{FF2B5EF4-FFF2-40B4-BE49-F238E27FC236}">
                <a16:creationId xmlns:a16="http://schemas.microsoft.com/office/drawing/2014/main" id="{950A1EBA-EBFB-443E-887E-A85C0AAEA709}"/>
              </a:ext>
            </a:extLst>
          </p:cNvPr>
          <p:cNvSpPr/>
          <p:nvPr userDrawn="1"/>
        </p:nvSpPr>
        <p:spPr>
          <a:xfrm>
            <a:off x="3798490" y="2488011"/>
            <a:ext cx="2792220" cy="940930"/>
          </a:xfrm>
          <a:prstGeom prst="flowChartInputOutpu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Folyamatábra: Adatok 18">
            <a:extLst>
              <a:ext uri="{FF2B5EF4-FFF2-40B4-BE49-F238E27FC236}">
                <a16:creationId xmlns:a16="http://schemas.microsoft.com/office/drawing/2014/main" id="{77A7932D-6BFD-4134-9DC6-496BC62C736B}"/>
              </a:ext>
            </a:extLst>
          </p:cNvPr>
          <p:cNvSpPr/>
          <p:nvPr userDrawn="1"/>
        </p:nvSpPr>
        <p:spPr>
          <a:xfrm>
            <a:off x="803267" y="2466124"/>
            <a:ext cx="3441015" cy="968088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69"/>
              <a:gd name="connsiteY0" fmla="*/ 5891 h 10000"/>
              <a:gd name="connsiteX1" fmla="*/ 1369 w 9369"/>
              <a:gd name="connsiteY1" fmla="*/ 0 h 10000"/>
              <a:gd name="connsiteX2" fmla="*/ 9369 w 9369"/>
              <a:gd name="connsiteY2" fmla="*/ 0 h 10000"/>
              <a:gd name="connsiteX3" fmla="*/ 7369 w 9369"/>
              <a:gd name="connsiteY3" fmla="*/ 10000 h 10000"/>
              <a:gd name="connsiteX4" fmla="*/ 0 w 9369"/>
              <a:gd name="connsiteY4" fmla="*/ 5891 h 10000"/>
              <a:gd name="connsiteX0" fmla="*/ 0 w 10505"/>
              <a:gd name="connsiteY0" fmla="*/ 6201 h 10000"/>
              <a:gd name="connsiteX1" fmla="*/ 1966 w 10505"/>
              <a:gd name="connsiteY1" fmla="*/ 0 h 10000"/>
              <a:gd name="connsiteX2" fmla="*/ 10505 w 10505"/>
              <a:gd name="connsiteY2" fmla="*/ 0 h 10000"/>
              <a:gd name="connsiteX3" fmla="*/ 8370 w 10505"/>
              <a:gd name="connsiteY3" fmla="*/ 10000 h 10000"/>
              <a:gd name="connsiteX4" fmla="*/ 0 w 10505"/>
              <a:gd name="connsiteY4" fmla="*/ 6201 h 10000"/>
              <a:gd name="connsiteX0" fmla="*/ 0 w 10505"/>
              <a:gd name="connsiteY0" fmla="*/ 6201 h 6201"/>
              <a:gd name="connsiteX1" fmla="*/ 1966 w 10505"/>
              <a:gd name="connsiteY1" fmla="*/ 0 h 6201"/>
              <a:gd name="connsiteX2" fmla="*/ 10505 w 10505"/>
              <a:gd name="connsiteY2" fmla="*/ 0 h 6201"/>
              <a:gd name="connsiteX3" fmla="*/ 9135 w 10505"/>
              <a:gd name="connsiteY3" fmla="*/ 6124 h 6201"/>
              <a:gd name="connsiteX4" fmla="*/ 0 w 10505"/>
              <a:gd name="connsiteY4" fmla="*/ 6201 h 6201"/>
              <a:gd name="connsiteX0" fmla="*/ 0 w 8384"/>
              <a:gd name="connsiteY0" fmla="*/ 10186 h 10186"/>
              <a:gd name="connsiteX1" fmla="*/ 255 w 8384"/>
              <a:gd name="connsiteY1" fmla="*/ 0 h 10186"/>
              <a:gd name="connsiteX2" fmla="*/ 8384 w 8384"/>
              <a:gd name="connsiteY2" fmla="*/ 0 h 10186"/>
              <a:gd name="connsiteX3" fmla="*/ 7080 w 8384"/>
              <a:gd name="connsiteY3" fmla="*/ 9876 h 10186"/>
              <a:gd name="connsiteX4" fmla="*/ 0 w 8384"/>
              <a:gd name="connsiteY4" fmla="*/ 10186 h 10186"/>
              <a:gd name="connsiteX0" fmla="*/ 0 w 10000"/>
              <a:gd name="connsiteY0" fmla="*/ 10000 h 10000"/>
              <a:gd name="connsiteX1" fmla="*/ 304 w 10000"/>
              <a:gd name="connsiteY1" fmla="*/ 0 h 10000"/>
              <a:gd name="connsiteX2" fmla="*/ 10000 w 10000"/>
              <a:gd name="connsiteY2" fmla="*/ 0 h 10000"/>
              <a:gd name="connsiteX3" fmla="*/ 8323 w 10000"/>
              <a:gd name="connsiteY3" fmla="*/ 994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101" y="6667"/>
                  <a:pt x="203" y="3333"/>
                  <a:pt x="304" y="0"/>
                </a:cubicBezTo>
                <a:lnTo>
                  <a:pt x="10000" y="0"/>
                </a:lnTo>
                <a:lnTo>
                  <a:pt x="8323" y="9940"/>
                </a:lnTo>
                <a:lnTo>
                  <a:pt x="0" y="1000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7" name="Téglalap 26">
            <a:extLst>
              <a:ext uri="{FF2B5EF4-FFF2-40B4-BE49-F238E27FC236}">
                <a16:creationId xmlns:a16="http://schemas.microsoft.com/office/drawing/2014/main" id="{ED889FD6-65F0-4740-BB2A-C3C22C8C1925}"/>
              </a:ext>
            </a:extLst>
          </p:cNvPr>
          <p:cNvSpPr/>
          <p:nvPr userDrawn="1"/>
        </p:nvSpPr>
        <p:spPr>
          <a:xfrm>
            <a:off x="5948521" y="2488011"/>
            <a:ext cx="1284379" cy="94093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0" name="Folyamatábra: Adatok 29">
            <a:extLst>
              <a:ext uri="{FF2B5EF4-FFF2-40B4-BE49-F238E27FC236}">
                <a16:creationId xmlns:a16="http://schemas.microsoft.com/office/drawing/2014/main" id="{746AA1AC-CEEF-40EA-BF6F-DFDE3EA18D07}"/>
              </a:ext>
            </a:extLst>
          </p:cNvPr>
          <p:cNvSpPr/>
          <p:nvPr userDrawn="1"/>
        </p:nvSpPr>
        <p:spPr>
          <a:xfrm>
            <a:off x="3195468" y="3581342"/>
            <a:ext cx="2792220" cy="940930"/>
          </a:xfrm>
          <a:prstGeom prst="flowChartInputOutpu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Téglalap 31">
            <a:extLst>
              <a:ext uri="{FF2B5EF4-FFF2-40B4-BE49-F238E27FC236}">
                <a16:creationId xmlns:a16="http://schemas.microsoft.com/office/drawing/2014/main" id="{A93BD99F-0C79-4846-BA74-B97C2A30D6D0}"/>
              </a:ext>
            </a:extLst>
          </p:cNvPr>
          <p:cNvSpPr/>
          <p:nvPr userDrawn="1"/>
        </p:nvSpPr>
        <p:spPr>
          <a:xfrm>
            <a:off x="5384666" y="3581341"/>
            <a:ext cx="1848234" cy="94093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3" name="Folyamatábra: Adatok 18">
            <a:extLst>
              <a:ext uri="{FF2B5EF4-FFF2-40B4-BE49-F238E27FC236}">
                <a16:creationId xmlns:a16="http://schemas.microsoft.com/office/drawing/2014/main" id="{9EEF0D3F-2847-4503-A1C3-3B6C55DA54F6}"/>
              </a:ext>
            </a:extLst>
          </p:cNvPr>
          <p:cNvSpPr/>
          <p:nvPr userDrawn="1"/>
        </p:nvSpPr>
        <p:spPr>
          <a:xfrm>
            <a:off x="457200" y="3554183"/>
            <a:ext cx="3168383" cy="968088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69"/>
              <a:gd name="connsiteY0" fmla="*/ 5891 h 10000"/>
              <a:gd name="connsiteX1" fmla="*/ 1369 w 9369"/>
              <a:gd name="connsiteY1" fmla="*/ 0 h 10000"/>
              <a:gd name="connsiteX2" fmla="*/ 9369 w 9369"/>
              <a:gd name="connsiteY2" fmla="*/ 0 h 10000"/>
              <a:gd name="connsiteX3" fmla="*/ 7369 w 9369"/>
              <a:gd name="connsiteY3" fmla="*/ 10000 h 10000"/>
              <a:gd name="connsiteX4" fmla="*/ 0 w 9369"/>
              <a:gd name="connsiteY4" fmla="*/ 5891 h 10000"/>
              <a:gd name="connsiteX0" fmla="*/ 0 w 10505"/>
              <a:gd name="connsiteY0" fmla="*/ 6201 h 10000"/>
              <a:gd name="connsiteX1" fmla="*/ 1966 w 10505"/>
              <a:gd name="connsiteY1" fmla="*/ 0 h 10000"/>
              <a:gd name="connsiteX2" fmla="*/ 10505 w 10505"/>
              <a:gd name="connsiteY2" fmla="*/ 0 h 10000"/>
              <a:gd name="connsiteX3" fmla="*/ 8370 w 10505"/>
              <a:gd name="connsiteY3" fmla="*/ 10000 h 10000"/>
              <a:gd name="connsiteX4" fmla="*/ 0 w 10505"/>
              <a:gd name="connsiteY4" fmla="*/ 6201 h 10000"/>
              <a:gd name="connsiteX0" fmla="*/ 0 w 10505"/>
              <a:gd name="connsiteY0" fmla="*/ 6201 h 6201"/>
              <a:gd name="connsiteX1" fmla="*/ 1966 w 10505"/>
              <a:gd name="connsiteY1" fmla="*/ 0 h 6201"/>
              <a:gd name="connsiteX2" fmla="*/ 10505 w 10505"/>
              <a:gd name="connsiteY2" fmla="*/ 0 h 6201"/>
              <a:gd name="connsiteX3" fmla="*/ 9135 w 10505"/>
              <a:gd name="connsiteY3" fmla="*/ 6124 h 6201"/>
              <a:gd name="connsiteX4" fmla="*/ 0 w 10505"/>
              <a:gd name="connsiteY4" fmla="*/ 6201 h 6201"/>
              <a:gd name="connsiteX0" fmla="*/ 0 w 8384"/>
              <a:gd name="connsiteY0" fmla="*/ 10186 h 10186"/>
              <a:gd name="connsiteX1" fmla="*/ 255 w 8384"/>
              <a:gd name="connsiteY1" fmla="*/ 0 h 10186"/>
              <a:gd name="connsiteX2" fmla="*/ 8384 w 8384"/>
              <a:gd name="connsiteY2" fmla="*/ 0 h 10186"/>
              <a:gd name="connsiteX3" fmla="*/ 7080 w 8384"/>
              <a:gd name="connsiteY3" fmla="*/ 9876 h 10186"/>
              <a:gd name="connsiteX4" fmla="*/ 0 w 8384"/>
              <a:gd name="connsiteY4" fmla="*/ 10186 h 10186"/>
              <a:gd name="connsiteX0" fmla="*/ 0 w 10000"/>
              <a:gd name="connsiteY0" fmla="*/ 10000 h 10000"/>
              <a:gd name="connsiteX1" fmla="*/ 304 w 10000"/>
              <a:gd name="connsiteY1" fmla="*/ 0 h 10000"/>
              <a:gd name="connsiteX2" fmla="*/ 10000 w 10000"/>
              <a:gd name="connsiteY2" fmla="*/ 0 h 10000"/>
              <a:gd name="connsiteX3" fmla="*/ 8323 w 10000"/>
              <a:gd name="connsiteY3" fmla="*/ 994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304 w 10000"/>
              <a:gd name="connsiteY1" fmla="*/ 0 h 10000"/>
              <a:gd name="connsiteX2" fmla="*/ 10000 w 10000"/>
              <a:gd name="connsiteY2" fmla="*/ 0 h 10000"/>
              <a:gd name="connsiteX3" fmla="*/ 8086 w 10000"/>
              <a:gd name="connsiteY3" fmla="*/ 994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304 w 10000"/>
              <a:gd name="connsiteY1" fmla="*/ 0 h 10000"/>
              <a:gd name="connsiteX2" fmla="*/ 10000 w 10000"/>
              <a:gd name="connsiteY2" fmla="*/ 0 h 10000"/>
              <a:gd name="connsiteX3" fmla="*/ 8194 w 10000"/>
              <a:gd name="connsiteY3" fmla="*/ 994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101" y="6667"/>
                  <a:pt x="203" y="3333"/>
                  <a:pt x="304" y="0"/>
                </a:cubicBezTo>
                <a:lnTo>
                  <a:pt x="10000" y="0"/>
                </a:lnTo>
                <a:lnTo>
                  <a:pt x="8194" y="9940"/>
                </a:lnTo>
                <a:lnTo>
                  <a:pt x="0" y="1000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5" name="Téglalap 34">
            <a:extLst>
              <a:ext uri="{FF2B5EF4-FFF2-40B4-BE49-F238E27FC236}">
                <a16:creationId xmlns:a16="http://schemas.microsoft.com/office/drawing/2014/main" id="{CE589ED8-9072-44EF-B5FB-B17C5E6F3982}"/>
              </a:ext>
            </a:extLst>
          </p:cNvPr>
          <p:cNvSpPr/>
          <p:nvPr userDrawn="1"/>
        </p:nvSpPr>
        <p:spPr>
          <a:xfrm>
            <a:off x="378000" y="3553496"/>
            <a:ext cx="532100" cy="968775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A482DBB5-DCB9-4F23-B443-703182617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7391EDC5-B9E0-4150-8597-27F2F1F2F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2862" y="1394681"/>
            <a:ext cx="2232911" cy="940930"/>
          </a:xfrm>
        </p:spPr>
        <p:txBody>
          <a:bodyPr anchor="ctr"/>
          <a:lstStyle>
            <a:lvl1pPr>
              <a:defRPr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4" name="Szöveg helye 2">
            <a:extLst>
              <a:ext uri="{FF2B5EF4-FFF2-40B4-BE49-F238E27FC236}">
                <a16:creationId xmlns:a16="http://schemas.microsoft.com/office/drawing/2014/main" id="{1C3DD43F-972F-4B78-97B8-65F1FDEDBC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6009" y="2494679"/>
            <a:ext cx="2859764" cy="906688"/>
          </a:xfrm>
        </p:spPr>
        <p:txBody>
          <a:bodyPr anchor="ctr"/>
          <a:lstStyle>
            <a:lvl1pPr>
              <a:defRPr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7" name="Szöveg helye 2">
            <a:extLst>
              <a:ext uri="{FF2B5EF4-FFF2-40B4-BE49-F238E27FC236}">
                <a16:creationId xmlns:a16="http://schemas.microsoft.com/office/drawing/2014/main" id="{AA2CF089-9637-4072-8BA4-1AE9F6A141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8489" y="3581342"/>
            <a:ext cx="3434411" cy="940930"/>
          </a:xfrm>
        </p:spPr>
        <p:txBody>
          <a:bodyPr anchor="ctr"/>
          <a:lstStyle>
            <a:lvl1pPr>
              <a:defRPr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6" name="Cím 1">
            <a:extLst>
              <a:ext uri="{FF2B5EF4-FFF2-40B4-BE49-F238E27FC236}">
                <a16:creationId xmlns:a16="http://schemas.microsoft.com/office/drawing/2014/main" id="{86C643D1-8CE1-4CE1-B144-7A2975E14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Separation</a:t>
            </a:r>
            <a:endParaRPr lang="hu-HU" dirty="0"/>
          </a:p>
        </p:txBody>
      </p:sp>
      <p:sp>
        <p:nvSpPr>
          <p:cNvPr id="40" name="Szöveg helye 13">
            <a:extLst>
              <a:ext uri="{FF2B5EF4-FFF2-40B4-BE49-F238E27FC236}">
                <a16:creationId xmlns:a16="http://schemas.microsoft.com/office/drawing/2014/main" id="{00FC154F-AB11-4949-8AC0-92A9A89FE3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82300" y="3554183"/>
            <a:ext cx="2640262" cy="968088"/>
          </a:xfrm>
        </p:spPr>
        <p:txBody>
          <a:bodyPr lIns="108000" tIns="108000" bIns="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41" name="Szöveg helye 13">
            <a:extLst>
              <a:ext uri="{FF2B5EF4-FFF2-40B4-BE49-F238E27FC236}">
                <a16:creationId xmlns:a16="http://schemas.microsoft.com/office/drawing/2014/main" id="{120A611B-617C-4B2A-BDF5-FE9C9CBB14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2299" y="2456737"/>
            <a:ext cx="3243283" cy="968088"/>
          </a:xfrm>
        </p:spPr>
        <p:txBody>
          <a:bodyPr lIns="108000" tIns="108000" bIns="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42" name="Szöveg helye 13">
            <a:extLst>
              <a:ext uri="{FF2B5EF4-FFF2-40B4-BE49-F238E27FC236}">
                <a16:creationId xmlns:a16="http://schemas.microsoft.com/office/drawing/2014/main" id="{B5B24078-AD7A-4E97-A0E6-11CEC953AA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999" y="1381563"/>
            <a:ext cx="3927719" cy="954048"/>
          </a:xfrm>
        </p:spPr>
        <p:txBody>
          <a:bodyPr lIns="108000" tIns="108000" bIns="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38" name="Dátum helye 2">
            <a:extLst>
              <a:ext uri="{FF2B5EF4-FFF2-40B4-BE49-F238E27FC236}">
                <a16:creationId xmlns:a16="http://schemas.microsoft.com/office/drawing/2014/main" id="{BAB3E829-577C-4D6F-979D-2CE1B672F2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9F82B35A-33C5-4AB9-B135-D4FFD27A47FC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9" name="Dia számának helye 4">
            <a:extLst>
              <a:ext uri="{FF2B5EF4-FFF2-40B4-BE49-F238E27FC236}">
                <a16:creationId xmlns:a16="http://schemas.microsoft.com/office/drawing/2014/main" id="{E7C31B00-1536-47AF-A7D9-BC249736B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3704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lock base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églalap 15">
            <a:extLst>
              <a:ext uri="{FF2B5EF4-FFF2-40B4-BE49-F238E27FC236}">
                <a16:creationId xmlns:a16="http://schemas.microsoft.com/office/drawing/2014/main" id="{F0155A44-B76C-4180-AE95-1D18588F51AC}"/>
              </a:ext>
            </a:extLst>
          </p:cNvPr>
          <p:cNvSpPr/>
          <p:nvPr userDrawn="1"/>
        </p:nvSpPr>
        <p:spPr>
          <a:xfrm>
            <a:off x="371970" y="1508562"/>
            <a:ext cx="1388693" cy="965795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A482DBB5-DCB9-4F23-B443-703182617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40" name="Téglalap 39">
            <a:extLst>
              <a:ext uri="{FF2B5EF4-FFF2-40B4-BE49-F238E27FC236}">
                <a16:creationId xmlns:a16="http://schemas.microsoft.com/office/drawing/2014/main" id="{56E59F7D-64F5-437E-A639-4F552A9EC3FE}"/>
              </a:ext>
            </a:extLst>
          </p:cNvPr>
          <p:cNvSpPr/>
          <p:nvPr userDrawn="1"/>
        </p:nvSpPr>
        <p:spPr>
          <a:xfrm>
            <a:off x="372546" y="2570107"/>
            <a:ext cx="1388405" cy="965795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2" name="Téglalap 41">
            <a:extLst>
              <a:ext uri="{FF2B5EF4-FFF2-40B4-BE49-F238E27FC236}">
                <a16:creationId xmlns:a16="http://schemas.microsoft.com/office/drawing/2014/main" id="{499FD1F7-B719-4640-834D-0D0FF6B92C00}"/>
              </a:ext>
            </a:extLst>
          </p:cNvPr>
          <p:cNvSpPr/>
          <p:nvPr userDrawn="1"/>
        </p:nvSpPr>
        <p:spPr>
          <a:xfrm>
            <a:off x="372834" y="3631771"/>
            <a:ext cx="1392994" cy="965795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4" name="Téglalap 43">
            <a:extLst>
              <a:ext uri="{FF2B5EF4-FFF2-40B4-BE49-F238E27FC236}">
                <a16:creationId xmlns:a16="http://schemas.microsoft.com/office/drawing/2014/main" id="{5BF480F3-52DC-4EA9-8D66-286B71A18E39}"/>
              </a:ext>
            </a:extLst>
          </p:cNvPr>
          <p:cNvSpPr/>
          <p:nvPr userDrawn="1"/>
        </p:nvSpPr>
        <p:spPr>
          <a:xfrm>
            <a:off x="1895969" y="1508562"/>
            <a:ext cx="3033562" cy="965795"/>
          </a:xfrm>
          <a:prstGeom prst="rect">
            <a:avLst/>
          </a:prstGeom>
          <a:solidFill>
            <a:srgbClr val="5CC1CB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5" name="Téglalap 44">
            <a:extLst>
              <a:ext uri="{FF2B5EF4-FFF2-40B4-BE49-F238E27FC236}">
                <a16:creationId xmlns:a16="http://schemas.microsoft.com/office/drawing/2014/main" id="{431B4C45-AD3D-43F2-B510-C4B1A2EDABB6}"/>
              </a:ext>
            </a:extLst>
          </p:cNvPr>
          <p:cNvSpPr/>
          <p:nvPr userDrawn="1"/>
        </p:nvSpPr>
        <p:spPr>
          <a:xfrm>
            <a:off x="5059672" y="1508562"/>
            <a:ext cx="3033562" cy="965795"/>
          </a:xfrm>
          <a:prstGeom prst="rect">
            <a:avLst/>
          </a:prstGeom>
          <a:solidFill>
            <a:srgbClr val="E3E0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6" name="Téglalap 45">
            <a:extLst>
              <a:ext uri="{FF2B5EF4-FFF2-40B4-BE49-F238E27FC236}">
                <a16:creationId xmlns:a16="http://schemas.microsoft.com/office/drawing/2014/main" id="{B1E8EBDA-59CA-4F05-83A9-D97364ED23D4}"/>
              </a:ext>
            </a:extLst>
          </p:cNvPr>
          <p:cNvSpPr/>
          <p:nvPr userDrawn="1"/>
        </p:nvSpPr>
        <p:spPr>
          <a:xfrm>
            <a:off x="1895969" y="2570702"/>
            <a:ext cx="3033562" cy="965795"/>
          </a:xfrm>
          <a:prstGeom prst="rect">
            <a:avLst/>
          </a:prstGeom>
          <a:solidFill>
            <a:srgbClr val="5CC1CB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7" name="Téglalap 46">
            <a:extLst>
              <a:ext uri="{FF2B5EF4-FFF2-40B4-BE49-F238E27FC236}">
                <a16:creationId xmlns:a16="http://schemas.microsoft.com/office/drawing/2014/main" id="{FFCDFEF5-437B-4342-94F4-A4EC21C4F92D}"/>
              </a:ext>
            </a:extLst>
          </p:cNvPr>
          <p:cNvSpPr/>
          <p:nvPr userDrawn="1"/>
        </p:nvSpPr>
        <p:spPr>
          <a:xfrm>
            <a:off x="1895969" y="3631771"/>
            <a:ext cx="3033562" cy="965795"/>
          </a:xfrm>
          <a:prstGeom prst="rect">
            <a:avLst/>
          </a:prstGeom>
          <a:solidFill>
            <a:srgbClr val="5CC1CB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8" name="Téglalap 47">
            <a:extLst>
              <a:ext uri="{FF2B5EF4-FFF2-40B4-BE49-F238E27FC236}">
                <a16:creationId xmlns:a16="http://schemas.microsoft.com/office/drawing/2014/main" id="{A95F95FA-81AD-4C41-AF00-8400A02D1DA1}"/>
              </a:ext>
            </a:extLst>
          </p:cNvPr>
          <p:cNvSpPr/>
          <p:nvPr userDrawn="1"/>
        </p:nvSpPr>
        <p:spPr>
          <a:xfrm>
            <a:off x="5059384" y="2570106"/>
            <a:ext cx="3033562" cy="965795"/>
          </a:xfrm>
          <a:prstGeom prst="rect">
            <a:avLst/>
          </a:prstGeom>
          <a:solidFill>
            <a:srgbClr val="E3E0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9" name="Téglalap 48">
            <a:extLst>
              <a:ext uri="{FF2B5EF4-FFF2-40B4-BE49-F238E27FC236}">
                <a16:creationId xmlns:a16="http://schemas.microsoft.com/office/drawing/2014/main" id="{69F51622-2DCA-4A0F-8B3F-9344087CFC5B}"/>
              </a:ext>
            </a:extLst>
          </p:cNvPr>
          <p:cNvSpPr/>
          <p:nvPr userDrawn="1"/>
        </p:nvSpPr>
        <p:spPr>
          <a:xfrm>
            <a:off x="5054507" y="3631771"/>
            <a:ext cx="3033562" cy="965795"/>
          </a:xfrm>
          <a:prstGeom prst="rect">
            <a:avLst/>
          </a:prstGeom>
          <a:solidFill>
            <a:srgbClr val="E3E0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0" name="Téglalap 49">
            <a:extLst>
              <a:ext uri="{FF2B5EF4-FFF2-40B4-BE49-F238E27FC236}">
                <a16:creationId xmlns:a16="http://schemas.microsoft.com/office/drawing/2014/main" id="{4603838F-ABEA-4638-BEA9-AD1A829D9F9B}"/>
              </a:ext>
            </a:extLst>
          </p:cNvPr>
          <p:cNvSpPr/>
          <p:nvPr userDrawn="1"/>
        </p:nvSpPr>
        <p:spPr>
          <a:xfrm>
            <a:off x="1890804" y="1219154"/>
            <a:ext cx="3038727" cy="289408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1" name="Téglalap 50">
            <a:extLst>
              <a:ext uri="{FF2B5EF4-FFF2-40B4-BE49-F238E27FC236}">
                <a16:creationId xmlns:a16="http://schemas.microsoft.com/office/drawing/2014/main" id="{261020ED-CA17-46F6-8825-E5E9FAC12BB1}"/>
              </a:ext>
            </a:extLst>
          </p:cNvPr>
          <p:cNvSpPr/>
          <p:nvPr userDrawn="1"/>
        </p:nvSpPr>
        <p:spPr>
          <a:xfrm>
            <a:off x="5059672" y="1219154"/>
            <a:ext cx="3033562" cy="289408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6" name="Szöveg helye 9">
            <a:extLst>
              <a:ext uri="{FF2B5EF4-FFF2-40B4-BE49-F238E27FC236}">
                <a16:creationId xmlns:a16="http://schemas.microsoft.com/office/drawing/2014/main" id="{7E83977F-4FD5-4827-AB17-500F7825B37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90804" y="1509158"/>
            <a:ext cx="3038727" cy="964485"/>
          </a:xfrm>
          <a:noFill/>
        </p:spPr>
        <p:txBody>
          <a:bodyPr lIns="72000" tIns="36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87312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57" name="Szöveg helye 9">
            <a:extLst>
              <a:ext uri="{FF2B5EF4-FFF2-40B4-BE49-F238E27FC236}">
                <a16:creationId xmlns:a16="http://schemas.microsoft.com/office/drawing/2014/main" id="{32460A9B-DBD0-4A0B-8519-1BC80261BB0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064837" y="1509158"/>
            <a:ext cx="3038727" cy="964485"/>
          </a:xfrm>
          <a:noFill/>
        </p:spPr>
        <p:txBody>
          <a:bodyPr lIns="72000" tIns="36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87312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58" name="Szöveg helye 9">
            <a:extLst>
              <a:ext uri="{FF2B5EF4-FFF2-40B4-BE49-F238E27FC236}">
                <a16:creationId xmlns:a16="http://schemas.microsoft.com/office/drawing/2014/main" id="{7181316D-3EFF-41E6-8E03-2DF4218BCA0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895969" y="2568917"/>
            <a:ext cx="3038727" cy="964485"/>
          </a:xfrm>
          <a:noFill/>
        </p:spPr>
        <p:txBody>
          <a:bodyPr lIns="72000" tIns="36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87312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59" name="Szöveg helye 9">
            <a:extLst>
              <a:ext uri="{FF2B5EF4-FFF2-40B4-BE49-F238E27FC236}">
                <a16:creationId xmlns:a16="http://schemas.microsoft.com/office/drawing/2014/main" id="{FBF08365-2E82-4300-B1A3-232CED7525D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059672" y="2561418"/>
            <a:ext cx="3038727" cy="964485"/>
          </a:xfrm>
          <a:noFill/>
        </p:spPr>
        <p:txBody>
          <a:bodyPr lIns="72000" tIns="36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87312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60" name="Szöveg helye 9">
            <a:extLst>
              <a:ext uri="{FF2B5EF4-FFF2-40B4-BE49-F238E27FC236}">
                <a16:creationId xmlns:a16="http://schemas.microsoft.com/office/drawing/2014/main" id="{EA850164-C915-4DAC-B9AC-2B18C5EC33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895969" y="3633081"/>
            <a:ext cx="3038727" cy="964485"/>
          </a:xfrm>
          <a:noFill/>
        </p:spPr>
        <p:txBody>
          <a:bodyPr lIns="72000" tIns="36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87312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61" name="Szöveg helye 9">
            <a:extLst>
              <a:ext uri="{FF2B5EF4-FFF2-40B4-BE49-F238E27FC236}">
                <a16:creationId xmlns:a16="http://schemas.microsoft.com/office/drawing/2014/main" id="{67D6CDE2-B4A2-43FC-B446-9C5700D65F7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59672" y="3621652"/>
            <a:ext cx="3038727" cy="964485"/>
          </a:xfrm>
          <a:noFill/>
        </p:spPr>
        <p:txBody>
          <a:bodyPr lIns="72000" tIns="36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87312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30" name="Cím 1">
            <a:extLst>
              <a:ext uri="{FF2B5EF4-FFF2-40B4-BE49-F238E27FC236}">
                <a16:creationId xmlns:a16="http://schemas.microsoft.com/office/drawing/2014/main" id="{637B023C-662E-4C6B-A520-EA259A2E65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Text </a:t>
            </a:r>
            <a:r>
              <a:rPr lang="hu-HU" dirty="0" err="1"/>
              <a:t>block</a:t>
            </a:r>
            <a:r>
              <a:rPr lang="hu-HU" dirty="0"/>
              <a:t> </a:t>
            </a:r>
            <a:r>
              <a:rPr lang="hu-HU" dirty="0" err="1"/>
              <a:t>based</a:t>
            </a:r>
            <a:r>
              <a:rPr lang="hu-HU" dirty="0"/>
              <a:t> </a:t>
            </a:r>
            <a:r>
              <a:rPr lang="hu-HU" dirty="0" err="1"/>
              <a:t>table</a:t>
            </a:r>
            <a:endParaRPr lang="hu-HU" dirty="0"/>
          </a:p>
        </p:txBody>
      </p:sp>
      <p:sp>
        <p:nvSpPr>
          <p:cNvPr id="32" name="Szöveg helye 9">
            <a:extLst>
              <a:ext uri="{FF2B5EF4-FFF2-40B4-BE49-F238E27FC236}">
                <a16:creationId xmlns:a16="http://schemas.microsoft.com/office/drawing/2014/main" id="{C53B2CAC-D0B4-4FCE-A4EC-F242F2997C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372" y="1736748"/>
            <a:ext cx="1369887" cy="527050"/>
          </a:xfrm>
          <a:noFill/>
          <a:ln>
            <a:noFill/>
          </a:ln>
        </p:spPr>
        <p:txBody>
          <a:bodyPr anchor="ctr"/>
          <a:lstStyle>
            <a:lvl1pPr marL="0" indent="87313"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Title</a:t>
            </a:r>
            <a:endParaRPr lang="hu-HU" dirty="0"/>
          </a:p>
        </p:txBody>
      </p:sp>
      <p:sp>
        <p:nvSpPr>
          <p:cNvPr id="33" name="Szöveg helye 9">
            <a:extLst>
              <a:ext uri="{FF2B5EF4-FFF2-40B4-BE49-F238E27FC236}">
                <a16:creationId xmlns:a16="http://schemas.microsoft.com/office/drawing/2014/main" id="{1C050692-CA2C-4244-972D-E55691A0BF4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81372" y="2785320"/>
            <a:ext cx="1369887" cy="527050"/>
          </a:xfrm>
          <a:noFill/>
          <a:ln>
            <a:noFill/>
          </a:ln>
        </p:spPr>
        <p:txBody>
          <a:bodyPr anchor="ctr"/>
          <a:lstStyle>
            <a:lvl1pPr marL="0" indent="87313"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Title</a:t>
            </a:r>
            <a:endParaRPr lang="hu-HU" dirty="0"/>
          </a:p>
        </p:txBody>
      </p:sp>
      <p:sp>
        <p:nvSpPr>
          <p:cNvPr id="34" name="Szöveg helye 9">
            <a:extLst>
              <a:ext uri="{FF2B5EF4-FFF2-40B4-BE49-F238E27FC236}">
                <a16:creationId xmlns:a16="http://schemas.microsoft.com/office/drawing/2014/main" id="{3131BA71-98F9-436E-97E2-AAE1D711EF8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81372" y="3851143"/>
            <a:ext cx="1369887" cy="527050"/>
          </a:xfrm>
          <a:noFill/>
          <a:ln>
            <a:noFill/>
          </a:ln>
        </p:spPr>
        <p:txBody>
          <a:bodyPr anchor="ctr"/>
          <a:lstStyle>
            <a:lvl1pPr marL="0" indent="87313"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Title</a:t>
            </a:r>
            <a:endParaRPr lang="hu-HU" dirty="0"/>
          </a:p>
        </p:txBody>
      </p:sp>
      <p:sp>
        <p:nvSpPr>
          <p:cNvPr id="36" name="Szöveg helye 9">
            <a:extLst>
              <a:ext uri="{FF2B5EF4-FFF2-40B4-BE49-F238E27FC236}">
                <a16:creationId xmlns:a16="http://schemas.microsoft.com/office/drawing/2014/main" id="{3E1FC0B1-A32F-4E2D-9656-2548FEA9F58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903659" y="1219154"/>
            <a:ext cx="3025872" cy="290004"/>
          </a:xfrm>
          <a:noFill/>
          <a:ln>
            <a:noFill/>
          </a:ln>
        </p:spPr>
        <p:txBody>
          <a:bodyPr anchor="ctr"/>
          <a:lstStyle>
            <a:lvl1pPr marL="0" indent="87313"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Title</a:t>
            </a:r>
            <a:endParaRPr lang="hu-HU" dirty="0"/>
          </a:p>
        </p:txBody>
      </p:sp>
      <p:sp>
        <p:nvSpPr>
          <p:cNvPr id="37" name="Szöveg helye 9">
            <a:extLst>
              <a:ext uri="{FF2B5EF4-FFF2-40B4-BE49-F238E27FC236}">
                <a16:creationId xmlns:a16="http://schemas.microsoft.com/office/drawing/2014/main" id="{EA1F7816-1508-4166-9E33-3D82469B90D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066099" y="1219154"/>
            <a:ext cx="3025872" cy="290004"/>
          </a:xfrm>
          <a:noFill/>
          <a:ln>
            <a:noFill/>
          </a:ln>
        </p:spPr>
        <p:txBody>
          <a:bodyPr anchor="ctr"/>
          <a:lstStyle>
            <a:lvl1pPr marL="0" indent="87313" algn="ctr">
              <a:spcAft>
                <a:spcPts val="0"/>
              </a:spcAft>
              <a:defRPr sz="1400"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Title</a:t>
            </a:r>
            <a:endParaRPr lang="hu-HU" dirty="0"/>
          </a:p>
        </p:txBody>
      </p:sp>
      <p:sp>
        <p:nvSpPr>
          <p:cNvPr id="35" name="Dátum helye 2">
            <a:extLst>
              <a:ext uri="{FF2B5EF4-FFF2-40B4-BE49-F238E27FC236}">
                <a16:creationId xmlns:a16="http://schemas.microsoft.com/office/drawing/2014/main" id="{A7E1CFEC-022C-43F8-9E71-5AB5B64FB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908922A3-0766-47A2-8AF7-16F6520C0EB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8" name="Dia számának helye 4">
            <a:extLst>
              <a:ext uri="{FF2B5EF4-FFF2-40B4-BE49-F238E27FC236}">
                <a16:creationId xmlns:a16="http://schemas.microsoft.com/office/drawing/2014/main" id="{43C1B8DF-4827-4F03-82C2-1D746EF64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76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think c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zöveg helye 26">
            <a:extLst>
              <a:ext uri="{FF2B5EF4-FFF2-40B4-BE49-F238E27FC236}">
                <a16:creationId xmlns:a16="http://schemas.microsoft.com/office/drawing/2014/main" id="{6AFE5270-676E-464F-8D24-2E689016D5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6110" y="1653377"/>
            <a:ext cx="7461687" cy="470371"/>
          </a:xfrm>
          <a:solidFill>
            <a:srgbClr val="B00402"/>
          </a:solidFill>
        </p:spPr>
        <p:txBody>
          <a:bodyPr lIns="216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1EFA3B38-3F52-458D-9D86-CF2E2515B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Agenda (</a:t>
            </a:r>
            <a:r>
              <a:rPr lang="hu-HU" dirty="0" err="1"/>
              <a:t>think-cell</a:t>
            </a:r>
            <a:r>
              <a:rPr lang="hu-HU" dirty="0"/>
              <a:t>)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DC39100-2B3A-47B8-9846-95B123CFB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zöveg helye 26">
            <a:extLst>
              <a:ext uri="{FF2B5EF4-FFF2-40B4-BE49-F238E27FC236}">
                <a16:creationId xmlns:a16="http://schemas.microsoft.com/office/drawing/2014/main" id="{9E9018C8-3514-4233-8A36-B7412101F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202917"/>
            <a:ext cx="7319794" cy="468539"/>
          </a:xfrm>
          <a:solidFill>
            <a:srgbClr val="5CC1CB">
              <a:alpha val="31000"/>
            </a:srgbClr>
          </a:solidFill>
        </p:spPr>
        <p:txBody>
          <a:bodyPr lIns="648000" anchor="ctr"/>
          <a:lstStyle>
            <a:lvl1pPr algn="l"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5" name="Szöveg helye 26">
            <a:extLst>
              <a:ext uri="{FF2B5EF4-FFF2-40B4-BE49-F238E27FC236}">
                <a16:creationId xmlns:a16="http://schemas.microsoft.com/office/drawing/2014/main" id="{13F7555F-149E-49A1-9C0E-CBA103A7F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5316" y="2749810"/>
            <a:ext cx="1397000" cy="456657"/>
          </a:xfrm>
        </p:spPr>
        <p:txBody>
          <a:bodyPr lIns="288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4FC1FB08-E21F-4673-A6B0-78501EA9AD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110" y="3322678"/>
            <a:ext cx="1397000" cy="473411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D12E1914-E2D3-4B55-B4E2-5A3DD05E06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6110" y="3896907"/>
            <a:ext cx="1397000" cy="466240"/>
          </a:xfrm>
        </p:spPr>
        <p:txBody>
          <a:bodyPr lIns="36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pic>
        <p:nvPicPr>
          <p:cNvPr id="36" name="Grafik 3">
            <a:extLst>
              <a:ext uri="{FF2B5EF4-FFF2-40B4-BE49-F238E27FC236}">
                <a16:creationId xmlns:a16="http://schemas.microsoft.com/office/drawing/2014/main" id="{BADDAAFC-DA6B-4B94-A901-8E05C5C2DC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110" y="4320701"/>
            <a:ext cx="1548000" cy="45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2297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llipszis 28">
            <a:extLst>
              <a:ext uri="{FF2B5EF4-FFF2-40B4-BE49-F238E27FC236}">
                <a16:creationId xmlns:a16="http://schemas.microsoft.com/office/drawing/2014/main" id="{930C52D5-314E-4A25-A632-C1A360F6BD58}"/>
              </a:ext>
            </a:extLst>
          </p:cNvPr>
          <p:cNvSpPr/>
          <p:nvPr userDrawn="1"/>
        </p:nvSpPr>
        <p:spPr>
          <a:xfrm>
            <a:off x="4255508" y="1528540"/>
            <a:ext cx="575735" cy="22229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A8ECE3D6-3728-43CD-A864-3785781326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Flowchart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A5ECA3D4-15AD-48C0-A0BB-F2D154290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B74B9-DB2D-4623-B522-772451B74E2A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43269133-3D65-41B3-A331-337B8983B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556CFF25-1E0E-41B1-A803-A978FD42E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3" name="Gerade Verbindung 33">
            <a:extLst>
              <a:ext uri="{FF2B5EF4-FFF2-40B4-BE49-F238E27FC236}">
                <a16:creationId xmlns:a16="http://schemas.microsoft.com/office/drawing/2014/main" id="{0FBFDC54-BB34-426F-A6F7-80265D1150F9}"/>
              </a:ext>
            </a:extLst>
          </p:cNvPr>
          <p:cNvCxnSpPr/>
          <p:nvPr userDrawn="1"/>
        </p:nvCxnSpPr>
        <p:spPr>
          <a:xfrm>
            <a:off x="382589" y="1376364"/>
            <a:ext cx="8388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3">
            <a:extLst>
              <a:ext uri="{FF2B5EF4-FFF2-40B4-BE49-F238E27FC236}">
                <a16:creationId xmlns:a16="http://schemas.microsoft.com/office/drawing/2014/main" id="{22829D49-AE41-41F4-B9BF-BD33C5581D35}"/>
              </a:ext>
            </a:extLst>
          </p:cNvPr>
          <p:cNvCxnSpPr/>
          <p:nvPr userDrawn="1"/>
        </p:nvCxnSpPr>
        <p:spPr>
          <a:xfrm>
            <a:off x="378000" y="1948741"/>
            <a:ext cx="8388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3">
            <a:extLst>
              <a:ext uri="{FF2B5EF4-FFF2-40B4-BE49-F238E27FC236}">
                <a16:creationId xmlns:a16="http://schemas.microsoft.com/office/drawing/2014/main" id="{81B9B0D8-64A7-4250-9E62-2EBF7B4EC809}"/>
              </a:ext>
            </a:extLst>
          </p:cNvPr>
          <p:cNvCxnSpPr/>
          <p:nvPr userDrawn="1"/>
        </p:nvCxnSpPr>
        <p:spPr>
          <a:xfrm>
            <a:off x="378000" y="2520647"/>
            <a:ext cx="8388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3">
            <a:extLst>
              <a:ext uri="{FF2B5EF4-FFF2-40B4-BE49-F238E27FC236}">
                <a16:creationId xmlns:a16="http://schemas.microsoft.com/office/drawing/2014/main" id="{25FAC1EF-0445-451C-8B5A-E96488E3D260}"/>
              </a:ext>
            </a:extLst>
          </p:cNvPr>
          <p:cNvCxnSpPr/>
          <p:nvPr userDrawn="1"/>
        </p:nvCxnSpPr>
        <p:spPr>
          <a:xfrm>
            <a:off x="381706" y="3092553"/>
            <a:ext cx="8388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3">
            <a:extLst>
              <a:ext uri="{FF2B5EF4-FFF2-40B4-BE49-F238E27FC236}">
                <a16:creationId xmlns:a16="http://schemas.microsoft.com/office/drawing/2014/main" id="{7148832D-953D-41D5-A9F9-37AB54D9A8D2}"/>
              </a:ext>
            </a:extLst>
          </p:cNvPr>
          <p:cNvCxnSpPr/>
          <p:nvPr userDrawn="1"/>
        </p:nvCxnSpPr>
        <p:spPr>
          <a:xfrm>
            <a:off x="378000" y="3664459"/>
            <a:ext cx="8388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3">
            <a:extLst>
              <a:ext uri="{FF2B5EF4-FFF2-40B4-BE49-F238E27FC236}">
                <a16:creationId xmlns:a16="http://schemas.microsoft.com/office/drawing/2014/main" id="{474F01B3-0EFF-4B61-90D5-F5EEE120720C}"/>
              </a:ext>
            </a:extLst>
          </p:cNvPr>
          <p:cNvCxnSpPr/>
          <p:nvPr userDrawn="1"/>
        </p:nvCxnSpPr>
        <p:spPr>
          <a:xfrm>
            <a:off x="382589" y="4236365"/>
            <a:ext cx="8388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AutoShape 26">
            <a:extLst>
              <a:ext uri="{FF2B5EF4-FFF2-40B4-BE49-F238E27FC236}">
                <a16:creationId xmlns:a16="http://schemas.microsoft.com/office/drawing/2014/main" id="{79CA5312-EBEA-4BF8-9C73-C7D82A63726E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3203480" y="3950411"/>
            <a:ext cx="5296701" cy="0"/>
          </a:xfrm>
          <a:prstGeom prst="straightConnector1">
            <a:avLst/>
          </a:prstGeom>
          <a:noFill/>
          <a:ln w="6350">
            <a:solidFill>
              <a:srgbClr val="767676"/>
            </a:solidFill>
            <a:miter lim="800000"/>
            <a:headEnd type="none" w="med" len="med"/>
            <a:tailEnd type="triangle" w="med" len="med"/>
          </a:ln>
        </p:spPr>
      </p:cxnSp>
      <p:sp>
        <p:nvSpPr>
          <p:cNvPr id="21" name="Szöveg helye 4">
            <a:extLst>
              <a:ext uri="{FF2B5EF4-FFF2-40B4-BE49-F238E27FC236}">
                <a16:creationId xmlns:a16="http://schemas.microsoft.com/office/drawing/2014/main" id="{BEF0B8B8-39F7-469C-AF10-16F9CFDA3B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97542" y="3781260"/>
            <a:ext cx="914401" cy="338302"/>
          </a:xfrm>
          <a:solidFill>
            <a:srgbClr val="B00402"/>
          </a:solidFill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3" name="Szöveg helye 4">
            <a:extLst>
              <a:ext uri="{FF2B5EF4-FFF2-40B4-BE49-F238E27FC236}">
                <a16:creationId xmlns:a16="http://schemas.microsoft.com/office/drawing/2014/main" id="{02011087-C0C7-4502-BC8B-CF8215601C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60939" y="1495948"/>
            <a:ext cx="736603" cy="272522"/>
          </a:xfrm>
          <a:solidFill>
            <a:srgbClr val="B00402"/>
          </a:solidFill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24" name="AutoShape 26">
            <a:extLst>
              <a:ext uri="{FF2B5EF4-FFF2-40B4-BE49-F238E27FC236}">
                <a16:creationId xmlns:a16="http://schemas.microsoft.com/office/drawing/2014/main" id="{094F6A8E-3919-4514-8CB2-1A3FCCA778E6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2197542" y="1640985"/>
            <a:ext cx="18000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ombusz 24">
            <a:extLst>
              <a:ext uri="{FF2B5EF4-FFF2-40B4-BE49-F238E27FC236}">
                <a16:creationId xmlns:a16="http://schemas.microsoft.com/office/drawing/2014/main" id="{7A520A94-DFAF-469B-BCCF-D72CBCE5CAE0}"/>
              </a:ext>
            </a:extLst>
          </p:cNvPr>
          <p:cNvSpPr/>
          <p:nvPr userDrawn="1"/>
        </p:nvSpPr>
        <p:spPr>
          <a:xfrm>
            <a:off x="2438410" y="1478386"/>
            <a:ext cx="571501" cy="296334"/>
          </a:xfrm>
          <a:prstGeom prst="diamond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Szöveg helye 4">
            <a:extLst>
              <a:ext uri="{FF2B5EF4-FFF2-40B4-BE49-F238E27FC236}">
                <a16:creationId xmlns:a16="http://schemas.microsoft.com/office/drawing/2014/main" id="{DBAD403C-8EAE-4195-B968-C827FDBE64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85239" y="1455057"/>
            <a:ext cx="914401" cy="338302"/>
          </a:xfrm>
          <a:noFill/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7" name="Szöveg helye 4">
            <a:extLst>
              <a:ext uri="{FF2B5EF4-FFF2-40B4-BE49-F238E27FC236}">
                <a16:creationId xmlns:a16="http://schemas.microsoft.com/office/drawing/2014/main" id="{EEC31D2E-6916-4C17-A2A0-37893270D8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69553" y="1491663"/>
            <a:ext cx="736603" cy="272522"/>
          </a:xfrm>
          <a:solidFill>
            <a:srgbClr val="E3E000"/>
          </a:solidFill>
        </p:spPr>
        <p:txBody>
          <a:bodyPr anchor="ctr"/>
          <a:lstStyle>
            <a:lvl1pPr algn="ct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28" name="AutoShape 26">
            <a:extLst>
              <a:ext uri="{FF2B5EF4-FFF2-40B4-BE49-F238E27FC236}">
                <a16:creationId xmlns:a16="http://schemas.microsoft.com/office/drawing/2014/main" id="{5C6DC632-D3F7-4126-BCAB-E22EFF1017B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006156" y="1655882"/>
            <a:ext cx="18000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zöveg helye 4">
            <a:extLst>
              <a:ext uri="{FF2B5EF4-FFF2-40B4-BE49-F238E27FC236}">
                <a16:creationId xmlns:a16="http://schemas.microsoft.com/office/drawing/2014/main" id="{66836CED-160F-437A-9255-2C091FB0C8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52418" y="1441383"/>
            <a:ext cx="914401" cy="338302"/>
          </a:xfrm>
          <a:noFill/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31" name="AutoShape 40">
            <a:extLst>
              <a:ext uri="{FF2B5EF4-FFF2-40B4-BE49-F238E27FC236}">
                <a16:creationId xmlns:a16="http://schemas.microsoft.com/office/drawing/2014/main" id="{5F282083-CC3B-4F8D-B357-DD95089CCB44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843333" y="1627924"/>
            <a:ext cx="225659" cy="465283"/>
          </a:xfrm>
          <a:prstGeom prst="bentConnector3">
            <a:avLst>
              <a:gd name="adj1" fmla="val 3283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Szöveg helye 4">
            <a:extLst>
              <a:ext uri="{FF2B5EF4-FFF2-40B4-BE49-F238E27FC236}">
                <a16:creationId xmlns:a16="http://schemas.microsoft.com/office/drawing/2014/main" id="{C91A0D77-B5FE-492F-91E5-10A5C011B7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05509" y="1994994"/>
            <a:ext cx="736603" cy="272522"/>
          </a:xfrm>
          <a:solidFill>
            <a:srgbClr val="EA1C0A"/>
          </a:solidFill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34" name="AutoShape 40">
            <a:extLst>
              <a:ext uri="{FF2B5EF4-FFF2-40B4-BE49-F238E27FC236}">
                <a16:creationId xmlns:a16="http://schemas.microsoft.com/office/drawing/2014/main" id="{86337B2F-BEBD-4B49-8B79-43F9A7A1716F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5851831" y="2149375"/>
            <a:ext cx="225659" cy="465283"/>
          </a:xfrm>
          <a:prstGeom prst="bentConnector3">
            <a:avLst>
              <a:gd name="adj1" fmla="val 3283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Szöveg helye 4">
            <a:extLst>
              <a:ext uri="{FF2B5EF4-FFF2-40B4-BE49-F238E27FC236}">
                <a16:creationId xmlns:a16="http://schemas.microsoft.com/office/drawing/2014/main" id="{583D2C3B-73EC-4DDD-9EB9-78E9003791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72422" y="2565963"/>
            <a:ext cx="736603" cy="272522"/>
          </a:xfrm>
          <a:solidFill>
            <a:srgbClr val="B00402"/>
          </a:solidFill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6" name="Ellipszis 35">
            <a:extLst>
              <a:ext uri="{FF2B5EF4-FFF2-40B4-BE49-F238E27FC236}">
                <a16:creationId xmlns:a16="http://schemas.microsoft.com/office/drawing/2014/main" id="{B6836E7F-2376-451F-8C6F-663023FAD016}"/>
              </a:ext>
            </a:extLst>
          </p:cNvPr>
          <p:cNvSpPr/>
          <p:nvPr userDrawn="1"/>
        </p:nvSpPr>
        <p:spPr>
          <a:xfrm>
            <a:off x="8212691" y="2453486"/>
            <a:ext cx="666147" cy="666147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7" name="Szöveg helye 4">
            <a:extLst>
              <a:ext uri="{FF2B5EF4-FFF2-40B4-BE49-F238E27FC236}">
                <a16:creationId xmlns:a16="http://schemas.microsoft.com/office/drawing/2014/main" id="{E3FCCD45-1861-4ADC-B693-573A0A9537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10149" y="2433386"/>
            <a:ext cx="736603" cy="272522"/>
          </a:xfrm>
          <a:solidFill>
            <a:srgbClr val="B00402"/>
          </a:solidFill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40" name="AutoShape 26">
            <a:extLst>
              <a:ext uri="{FF2B5EF4-FFF2-40B4-BE49-F238E27FC236}">
                <a16:creationId xmlns:a16="http://schemas.microsoft.com/office/drawing/2014/main" id="{FD5F1488-63C3-4D57-9877-B67412B8BB7A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3005215" y="1627924"/>
            <a:ext cx="18000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AutoShape 40">
            <a:extLst>
              <a:ext uri="{FF2B5EF4-FFF2-40B4-BE49-F238E27FC236}">
                <a16:creationId xmlns:a16="http://schemas.microsoft.com/office/drawing/2014/main" id="{AE40C158-3D63-4043-B619-FCB8216BE05C}"/>
              </a:ext>
            </a:extLst>
          </p:cNvPr>
          <p:cNvCxnSpPr>
            <a:cxnSpLocks noChangeShapeType="1"/>
          </p:cNvCxnSpPr>
          <p:nvPr userDrawn="1"/>
        </p:nvCxnSpPr>
        <p:spPr bwMode="gray">
          <a:xfrm flipV="1">
            <a:off x="6897642" y="2574818"/>
            <a:ext cx="237060" cy="144319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AutoShape 40">
            <a:extLst>
              <a:ext uri="{FF2B5EF4-FFF2-40B4-BE49-F238E27FC236}">
                <a16:creationId xmlns:a16="http://schemas.microsoft.com/office/drawing/2014/main" id="{3EDD5575-2E8F-48E0-88A5-C932DAA27DDE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6899596" y="2719136"/>
            <a:ext cx="241543" cy="163662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Szöveg helye 4">
            <a:extLst>
              <a:ext uri="{FF2B5EF4-FFF2-40B4-BE49-F238E27FC236}">
                <a16:creationId xmlns:a16="http://schemas.microsoft.com/office/drawing/2014/main" id="{B9008C12-08A1-49FD-BF51-87CF6B3817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10148" y="2810021"/>
            <a:ext cx="736603" cy="272522"/>
          </a:xfrm>
          <a:solidFill>
            <a:srgbClr val="B00402"/>
          </a:solidFill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44" name="AutoShape 40">
            <a:extLst>
              <a:ext uri="{FF2B5EF4-FFF2-40B4-BE49-F238E27FC236}">
                <a16:creationId xmlns:a16="http://schemas.microsoft.com/office/drawing/2014/main" id="{0F3E678B-6E44-44C9-A919-71D0571A0AC8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7947743" y="2594779"/>
            <a:ext cx="240754" cy="15439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AutoShape 40">
            <a:extLst>
              <a:ext uri="{FF2B5EF4-FFF2-40B4-BE49-F238E27FC236}">
                <a16:creationId xmlns:a16="http://schemas.microsoft.com/office/drawing/2014/main" id="{0F0E9A6E-FB84-4B06-B154-ECFFFF2DE4D8}"/>
              </a:ext>
            </a:extLst>
          </p:cNvPr>
          <p:cNvCxnSpPr>
            <a:cxnSpLocks noChangeShapeType="1"/>
          </p:cNvCxnSpPr>
          <p:nvPr userDrawn="1"/>
        </p:nvCxnSpPr>
        <p:spPr bwMode="gray">
          <a:xfrm flipV="1">
            <a:off x="7951522" y="2749170"/>
            <a:ext cx="233674" cy="15256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Szöveg helye 4">
            <a:extLst>
              <a:ext uri="{FF2B5EF4-FFF2-40B4-BE49-F238E27FC236}">
                <a16:creationId xmlns:a16="http://schemas.microsoft.com/office/drawing/2014/main" id="{D3313754-EF7D-4141-9AD1-CD9ABD9EFB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68120" y="2593789"/>
            <a:ext cx="914401" cy="338302"/>
          </a:xfrm>
          <a:noFill/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47" name="AutoShape 40">
            <a:extLst>
              <a:ext uri="{FF2B5EF4-FFF2-40B4-BE49-F238E27FC236}">
                <a16:creationId xmlns:a16="http://schemas.microsoft.com/office/drawing/2014/main" id="{8791C434-C333-4FF6-9A80-3288DB25B533}"/>
              </a:ext>
            </a:extLst>
          </p:cNvPr>
          <p:cNvCxnSpPr>
            <a:cxnSpLocks noChangeShapeType="1"/>
          </p:cNvCxnSpPr>
          <p:nvPr userDrawn="1"/>
        </p:nvCxnSpPr>
        <p:spPr bwMode="gray">
          <a:xfrm rot="5400000" flipH="1">
            <a:off x="2691433" y="948283"/>
            <a:ext cx="56727" cy="1825148"/>
          </a:xfrm>
          <a:prstGeom prst="bentConnector3">
            <a:avLst>
              <a:gd name="adj1" fmla="val -402983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AutoShape 26">
            <a:extLst>
              <a:ext uri="{FF2B5EF4-FFF2-40B4-BE49-F238E27FC236}">
                <a16:creationId xmlns:a16="http://schemas.microsoft.com/office/drawing/2014/main" id="{F94F2A3D-0714-4623-9B83-554D7BFCC852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2724186" y="1819136"/>
            <a:ext cx="0" cy="180000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Ellipszis 48">
            <a:extLst>
              <a:ext uri="{FF2B5EF4-FFF2-40B4-BE49-F238E27FC236}">
                <a16:creationId xmlns:a16="http://schemas.microsoft.com/office/drawing/2014/main" id="{2055F762-A250-41C3-90C9-18AF857449DE}"/>
              </a:ext>
            </a:extLst>
          </p:cNvPr>
          <p:cNvSpPr/>
          <p:nvPr userDrawn="1"/>
        </p:nvSpPr>
        <p:spPr>
          <a:xfrm>
            <a:off x="8545763" y="3816404"/>
            <a:ext cx="268013" cy="268013"/>
          </a:xfrm>
          <a:prstGeom prst="ellips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0" name="Szöveg helye 4">
            <a:extLst>
              <a:ext uri="{FF2B5EF4-FFF2-40B4-BE49-F238E27FC236}">
                <a16:creationId xmlns:a16="http://schemas.microsoft.com/office/drawing/2014/main" id="{FF52C4ED-82FC-4ECE-BCD3-BB02D37A31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22568" y="3761387"/>
            <a:ext cx="914401" cy="338302"/>
          </a:xfrm>
          <a:noFill/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1</a:t>
            </a:r>
          </a:p>
        </p:txBody>
      </p:sp>
      <p:sp>
        <p:nvSpPr>
          <p:cNvPr id="53" name="Ellipszis 52">
            <a:extLst>
              <a:ext uri="{FF2B5EF4-FFF2-40B4-BE49-F238E27FC236}">
                <a16:creationId xmlns:a16="http://schemas.microsoft.com/office/drawing/2014/main" id="{2C487DA4-8259-4F61-A09B-63EFAD8CDD32}"/>
              </a:ext>
            </a:extLst>
          </p:cNvPr>
          <p:cNvSpPr/>
          <p:nvPr userDrawn="1"/>
        </p:nvSpPr>
        <p:spPr>
          <a:xfrm>
            <a:off x="2372860" y="1869897"/>
            <a:ext cx="251646" cy="20974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4" name="Szöveg helye 4">
            <a:extLst>
              <a:ext uri="{FF2B5EF4-FFF2-40B4-BE49-F238E27FC236}">
                <a16:creationId xmlns:a16="http://schemas.microsoft.com/office/drawing/2014/main" id="{DE8696FF-4AB9-424B-9C9F-32426BC06F0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68723" y="1830160"/>
            <a:ext cx="858562" cy="264755"/>
          </a:xfrm>
          <a:noFill/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N</a:t>
            </a:r>
          </a:p>
        </p:txBody>
      </p:sp>
      <p:sp>
        <p:nvSpPr>
          <p:cNvPr id="55" name="Ellipszis 54">
            <a:extLst>
              <a:ext uri="{FF2B5EF4-FFF2-40B4-BE49-F238E27FC236}">
                <a16:creationId xmlns:a16="http://schemas.microsoft.com/office/drawing/2014/main" id="{0FC23939-18FA-4E8F-889D-9055BD9E9BDD}"/>
              </a:ext>
            </a:extLst>
          </p:cNvPr>
          <p:cNvSpPr/>
          <p:nvPr userDrawn="1"/>
        </p:nvSpPr>
        <p:spPr>
          <a:xfrm>
            <a:off x="2838658" y="1869897"/>
            <a:ext cx="251646" cy="20974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6" name="Szöveg helye 4">
            <a:extLst>
              <a:ext uri="{FF2B5EF4-FFF2-40B4-BE49-F238E27FC236}">
                <a16:creationId xmlns:a16="http://schemas.microsoft.com/office/drawing/2014/main" id="{5839ADB4-4256-41AC-BC39-6EB89A0699B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534521" y="1830160"/>
            <a:ext cx="858562" cy="264755"/>
          </a:xfrm>
          <a:noFill/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Y</a:t>
            </a:r>
          </a:p>
        </p:txBody>
      </p:sp>
      <p:sp>
        <p:nvSpPr>
          <p:cNvPr id="57" name="Szöveg helye 4">
            <a:extLst>
              <a:ext uri="{FF2B5EF4-FFF2-40B4-BE49-F238E27FC236}">
                <a16:creationId xmlns:a16="http://schemas.microsoft.com/office/drawing/2014/main" id="{A465225B-F1F7-447D-927F-2FBCCCF7A05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77491" y="3982296"/>
            <a:ext cx="2314696" cy="214320"/>
          </a:xfrm>
          <a:noFill/>
        </p:spPr>
        <p:txBody>
          <a:bodyPr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8" name="Szöveg helye 4">
            <a:extLst>
              <a:ext uri="{FF2B5EF4-FFF2-40B4-BE49-F238E27FC236}">
                <a16:creationId xmlns:a16="http://schemas.microsoft.com/office/drawing/2014/main" id="{E12411B6-54C6-4CB5-84B5-7D5F5144BDB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77117" y="1079383"/>
            <a:ext cx="8388883" cy="272522"/>
          </a:xfrm>
          <a:noFill/>
        </p:spPr>
        <p:txBody>
          <a:bodyPr anchor="ctr"/>
          <a:lstStyle>
            <a:lvl1pPr algn="l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52" name="Szöveg helye 4">
            <a:extLst>
              <a:ext uri="{FF2B5EF4-FFF2-40B4-BE49-F238E27FC236}">
                <a16:creationId xmlns:a16="http://schemas.microsoft.com/office/drawing/2014/main" id="{75696366-6AE7-4837-BB1B-4A532E7A843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8000" y="1380247"/>
            <a:ext cx="919099" cy="564142"/>
          </a:xfrm>
          <a:solidFill>
            <a:srgbClr val="EA1C0A"/>
          </a:solidFill>
        </p:spPr>
        <p:txBody>
          <a:bodyPr lIns="36000" anchor="t"/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2" name="Szöveg helye 4">
            <a:extLst>
              <a:ext uri="{FF2B5EF4-FFF2-40B4-BE49-F238E27FC236}">
                <a16:creationId xmlns:a16="http://schemas.microsoft.com/office/drawing/2014/main" id="{7D899FC2-CA04-4ECB-929E-46AF22AF1DA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9765" y="1954574"/>
            <a:ext cx="919099" cy="564142"/>
          </a:xfrm>
          <a:solidFill>
            <a:srgbClr val="EA1C0A"/>
          </a:solidFill>
        </p:spPr>
        <p:txBody>
          <a:bodyPr lIns="36000" anchor="t"/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3" name="Szöveg helye 4">
            <a:extLst>
              <a:ext uri="{FF2B5EF4-FFF2-40B4-BE49-F238E27FC236}">
                <a16:creationId xmlns:a16="http://schemas.microsoft.com/office/drawing/2014/main" id="{3B125A6B-09D0-41D0-9DC0-CA29B29F42A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0042" y="2519128"/>
            <a:ext cx="919099" cy="564142"/>
          </a:xfrm>
          <a:solidFill>
            <a:srgbClr val="EA1C0A"/>
          </a:solidFill>
        </p:spPr>
        <p:txBody>
          <a:bodyPr lIns="36000" anchor="t"/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4" name="Szöveg helye 4">
            <a:extLst>
              <a:ext uri="{FF2B5EF4-FFF2-40B4-BE49-F238E27FC236}">
                <a16:creationId xmlns:a16="http://schemas.microsoft.com/office/drawing/2014/main" id="{E0698875-A350-4FBF-9C91-160A7A5538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0042" y="3090621"/>
            <a:ext cx="919099" cy="564142"/>
          </a:xfrm>
          <a:solidFill>
            <a:srgbClr val="EA1C0A"/>
          </a:solidFill>
        </p:spPr>
        <p:txBody>
          <a:bodyPr lIns="36000" anchor="t"/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5" name="Szöveg helye 4">
            <a:extLst>
              <a:ext uri="{FF2B5EF4-FFF2-40B4-BE49-F238E27FC236}">
                <a16:creationId xmlns:a16="http://schemas.microsoft.com/office/drawing/2014/main" id="{E8FE744F-38E7-46FF-A8A5-38702A8771F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0042" y="3662526"/>
            <a:ext cx="919099" cy="564142"/>
          </a:xfrm>
          <a:solidFill>
            <a:srgbClr val="EA1C0A"/>
          </a:solidFill>
        </p:spPr>
        <p:txBody>
          <a:bodyPr lIns="36000" anchor="t"/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66" name="Szöveg helye 4">
            <a:extLst>
              <a:ext uri="{FF2B5EF4-FFF2-40B4-BE49-F238E27FC236}">
                <a16:creationId xmlns:a16="http://schemas.microsoft.com/office/drawing/2014/main" id="{DDC7D9F1-1B96-4696-83A0-A2DC84B1681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9765" y="4240248"/>
            <a:ext cx="919099" cy="564142"/>
          </a:xfrm>
          <a:solidFill>
            <a:srgbClr val="EA1C0A"/>
          </a:solidFill>
        </p:spPr>
        <p:txBody>
          <a:bodyPr lIns="36000" anchor="t"/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485097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 scope out of sc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03E4F25-4487-4113-83DE-165CC9205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In </a:t>
            </a:r>
            <a:r>
              <a:rPr lang="hu-HU" dirty="0" err="1"/>
              <a:t>Scope</a:t>
            </a:r>
            <a:r>
              <a:rPr lang="hu-HU" dirty="0"/>
              <a:t>/</a:t>
            </a:r>
            <a:br>
              <a:rPr lang="hu-HU" dirty="0"/>
            </a:br>
            <a:r>
              <a:rPr lang="hu-HU" dirty="0"/>
              <a:t>out of </a:t>
            </a:r>
            <a:r>
              <a:rPr lang="hu-HU" dirty="0" err="1"/>
              <a:t>scope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5A73AC23-5DD4-4871-A33A-FE1ECA777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0DA774-BB9E-4392-B8B6-4117DE10768D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F4BB9B9E-A548-4627-86C5-55A269190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74C0156-B1AB-46A0-93E6-828E99FDE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07614867-8121-495C-9A1F-94947E538434}"/>
              </a:ext>
            </a:extLst>
          </p:cNvPr>
          <p:cNvSpPr/>
          <p:nvPr userDrawn="1"/>
        </p:nvSpPr>
        <p:spPr>
          <a:xfrm>
            <a:off x="1771840" y="1195693"/>
            <a:ext cx="5338042" cy="401652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 helye 3">
            <a:extLst>
              <a:ext uri="{FF2B5EF4-FFF2-40B4-BE49-F238E27FC236}">
                <a16:creationId xmlns:a16="http://schemas.microsoft.com/office/drawing/2014/main" id="{601F0BFE-0F19-48C2-BF26-0246663C97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1840" y="1224019"/>
            <a:ext cx="5338042" cy="345000"/>
          </a:xfrm>
          <a:noFill/>
        </p:spPr>
        <p:txBody>
          <a:bodyPr lIns="0" rIns="0" anchor="ctr"/>
          <a:lstStyle>
            <a:lvl1pPr marL="0" indent="182563"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F39BAEFF-1EC4-4588-861C-950A24417E4A}"/>
              </a:ext>
            </a:extLst>
          </p:cNvPr>
          <p:cNvSpPr/>
          <p:nvPr userDrawn="1"/>
        </p:nvSpPr>
        <p:spPr>
          <a:xfrm>
            <a:off x="7194743" y="1177198"/>
            <a:ext cx="1716295" cy="401652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Szöveg helye 3">
            <a:extLst>
              <a:ext uri="{FF2B5EF4-FFF2-40B4-BE49-F238E27FC236}">
                <a16:creationId xmlns:a16="http://schemas.microsoft.com/office/drawing/2014/main" id="{F08AA8C1-3E98-44FC-A472-16E1475615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6344" y="1210955"/>
            <a:ext cx="1696906" cy="345000"/>
          </a:xfrm>
          <a:noFill/>
        </p:spPr>
        <p:txBody>
          <a:bodyPr lIns="0" rIns="0" anchor="ctr"/>
          <a:lstStyle>
            <a:lvl1pPr marL="0" indent="182563" algn="l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pic>
        <p:nvPicPr>
          <p:cNvPr id="11" name="Bild 18">
            <a:extLst>
              <a:ext uri="{FF2B5EF4-FFF2-40B4-BE49-F238E27FC236}">
                <a16:creationId xmlns:a16="http://schemas.microsoft.com/office/drawing/2014/main" id="{B28DAEB4-B3E3-42CA-A37A-ED9822B237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215" y="1170944"/>
            <a:ext cx="450000" cy="450000"/>
          </a:xfrm>
          <a:prstGeom prst="rect">
            <a:avLst/>
          </a:prstGeom>
        </p:spPr>
      </p:pic>
      <p:pic>
        <p:nvPicPr>
          <p:cNvPr id="12" name="Bild 14">
            <a:extLst>
              <a:ext uri="{FF2B5EF4-FFF2-40B4-BE49-F238E27FC236}">
                <a16:creationId xmlns:a16="http://schemas.microsoft.com/office/drawing/2014/main" id="{7B502543-83EB-40A9-B240-6E0D3D1D8B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1136" y="1153024"/>
            <a:ext cx="450000" cy="450000"/>
          </a:xfrm>
          <a:prstGeom prst="rect">
            <a:avLst/>
          </a:prstGeom>
        </p:spPr>
      </p:pic>
      <p:sp>
        <p:nvSpPr>
          <p:cNvPr id="17" name="Szöveg helye 16">
            <a:extLst>
              <a:ext uri="{FF2B5EF4-FFF2-40B4-BE49-F238E27FC236}">
                <a16:creationId xmlns:a16="http://schemas.microsoft.com/office/drawing/2014/main" id="{FEEF2C40-D485-4E37-A5FD-C066FD8C1F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71840" y="1621519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27" name="Egyenes összekötő 26">
            <a:extLst>
              <a:ext uri="{FF2B5EF4-FFF2-40B4-BE49-F238E27FC236}">
                <a16:creationId xmlns:a16="http://schemas.microsoft.com/office/drawing/2014/main" id="{F29F2A53-348A-456A-AA21-9F0B2D3C27DA}"/>
              </a:ext>
            </a:extLst>
          </p:cNvPr>
          <p:cNvCxnSpPr/>
          <p:nvPr userDrawn="1"/>
        </p:nvCxnSpPr>
        <p:spPr>
          <a:xfrm>
            <a:off x="1771840" y="2929619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Szöveg helye 9">
            <a:extLst>
              <a:ext uri="{FF2B5EF4-FFF2-40B4-BE49-F238E27FC236}">
                <a16:creationId xmlns:a16="http://schemas.microsoft.com/office/drawing/2014/main" id="{300391C7-7426-4341-9643-6CB9F69391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1811181"/>
            <a:ext cx="1369887" cy="527050"/>
          </a:xfrm>
          <a:noFill/>
          <a:ln>
            <a:noFill/>
          </a:ln>
        </p:spPr>
        <p:txBody>
          <a:bodyPr lIns="0"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</a:p>
        </p:txBody>
      </p:sp>
      <p:sp>
        <p:nvSpPr>
          <p:cNvPr id="36" name="Szöveg helye 9">
            <a:extLst>
              <a:ext uri="{FF2B5EF4-FFF2-40B4-BE49-F238E27FC236}">
                <a16:creationId xmlns:a16="http://schemas.microsoft.com/office/drawing/2014/main" id="{519DFB00-C191-40E1-8AD7-3E5A8C12872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8000" y="3326035"/>
            <a:ext cx="1369887" cy="527050"/>
          </a:xfrm>
          <a:noFill/>
          <a:ln>
            <a:noFill/>
          </a:ln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</a:p>
        </p:txBody>
      </p:sp>
      <p:pic>
        <p:nvPicPr>
          <p:cNvPr id="37" name="Kép 36">
            <a:extLst>
              <a:ext uri="{FF2B5EF4-FFF2-40B4-BE49-F238E27FC236}">
                <a16:creationId xmlns:a16="http://schemas.microsoft.com/office/drawing/2014/main" id="{6274C2BF-01CC-4A4F-8CBF-FD55FD8217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9860" y="4514909"/>
            <a:ext cx="408349" cy="408349"/>
          </a:xfrm>
          <a:prstGeom prst="rect">
            <a:avLst/>
          </a:prstGeom>
        </p:spPr>
      </p:pic>
      <p:sp>
        <p:nvSpPr>
          <p:cNvPr id="38" name="Szöveg helye 3">
            <a:extLst>
              <a:ext uri="{FF2B5EF4-FFF2-40B4-BE49-F238E27FC236}">
                <a16:creationId xmlns:a16="http://schemas.microsoft.com/office/drawing/2014/main" id="{C6C307B8-AB74-435C-B045-7F8AB920270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62489" y="4557929"/>
            <a:ext cx="5057511" cy="345000"/>
          </a:xfrm>
          <a:noFill/>
        </p:spPr>
        <p:txBody>
          <a:bodyPr anchor="ctr"/>
          <a:lstStyle>
            <a:lvl1pPr marL="0" indent="177800"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39" name="Szöveg helye 16">
            <a:extLst>
              <a:ext uri="{FF2B5EF4-FFF2-40B4-BE49-F238E27FC236}">
                <a16:creationId xmlns:a16="http://schemas.microsoft.com/office/drawing/2014/main" id="{109516C5-5F85-4120-AD64-82EA11AFD5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92267" y="1621519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40" name="Egyenes összekötő 39">
            <a:extLst>
              <a:ext uri="{FF2B5EF4-FFF2-40B4-BE49-F238E27FC236}">
                <a16:creationId xmlns:a16="http://schemas.microsoft.com/office/drawing/2014/main" id="{8CE9436D-C608-43CE-892D-E6D30C19E069}"/>
              </a:ext>
            </a:extLst>
          </p:cNvPr>
          <p:cNvCxnSpPr/>
          <p:nvPr userDrawn="1"/>
        </p:nvCxnSpPr>
        <p:spPr>
          <a:xfrm>
            <a:off x="3592267" y="2929619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Szöveg helye 16">
            <a:extLst>
              <a:ext uri="{FF2B5EF4-FFF2-40B4-BE49-F238E27FC236}">
                <a16:creationId xmlns:a16="http://schemas.microsoft.com/office/drawing/2014/main" id="{BA4E7F7A-8748-44EA-AD19-84B5D57225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2694" y="1621519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42" name="Egyenes összekötő 41">
            <a:extLst>
              <a:ext uri="{FF2B5EF4-FFF2-40B4-BE49-F238E27FC236}">
                <a16:creationId xmlns:a16="http://schemas.microsoft.com/office/drawing/2014/main" id="{43260DE1-C7B8-47DA-AAEE-34E133A0B740}"/>
              </a:ext>
            </a:extLst>
          </p:cNvPr>
          <p:cNvCxnSpPr/>
          <p:nvPr userDrawn="1"/>
        </p:nvCxnSpPr>
        <p:spPr>
          <a:xfrm>
            <a:off x="5412694" y="2929619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Szöveg helye 16">
            <a:extLst>
              <a:ext uri="{FF2B5EF4-FFF2-40B4-BE49-F238E27FC236}">
                <a16:creationId xmlns:a16="http://schemas.microsoft.com/office/drawing/2014/main" id="{71A5A73B-D2CC-41D6-A717-663308CAD2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9815" y="1624665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46" name="Egyenes összekötő 45">
            <a:extLst>
              <a:ext uri="{FF2B5EF4-FFF2-40B4-BE49-F238E27FC236}">
                <a16:creationId xmlns:a16="http://schemas.microsoft.com/office/drawing/2014/main" id="{35E9C7E7-22FC-4BA8-9490-57F54F54FA9C}"/>
              </a:ext>
            </a:extLst>
          </p:cNvPr>
          <p:cNvCxnSpPr/>
          <p:nvPr userDrawn="1"/>
        </p:nvCxnSpPr>
        <p:spPr>
          <a:xfrm>
            <a:off x="7209815" y="2932765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Szöveg helye 16">
            <a:extLst>
              <a:ext uri="{FF2B5EF4-FFF2-40B4-BE49-F238E27FC236}">
                <a16:creationId xmlns:a16="http://schemas.microsoft.com/office/drawing/2014/main" id="{07D499BF-D512-4B7C-8D23-C8ADE1DA0B1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71840" y="2992853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48" name="Egyenes összekötő 47">
            <a:extLst>
              <a:ext uri="{FF2B5EF4-FFF2-40B4-BE49-F238E27FC236}">
                <a16:creationId xmlns:a16="http://schemas.microsoft.com/office/drawing/2014/main" id="{9D16B3DC-CE42-4F16-9AB6-A3BA9C900DE6}"/>
              </a:ext>
            </a:extLst>
          </p:cNvPr>
          <p:cNvCxnSpPr/>
          <p:nvPr userDrawn="1"/>
        </p:nvCxnSpPr>
        <p:spPr>
          <a:xfrm>
            <a:off x="1771840" y="4300953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Szöveg helye 16">
            <a:extLst>
              <a:ext uri="{FF2B5EF4-FFF2-40B4-BE49-F238E27FC236}">
                <a16:creationId xmlns:a16="http://schemas.microsoft.com/office/drawing/2014/main" id="{C4DEB1AD-2226-45F9-B010-45BB0A6653D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8514" y="2992853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50" name="Egyenes összekötő 49">
            <a:extLst>
              <a:ext uri="{FF2B5EF4-FFF2-40B4-BE49-F238E27FC236}">
                <a16:creationId xmlns:a16="http://schemas.microsoft.com/office/drawing/2014/main" id="{DD0FF233-AA6A-4C48-A287-222D55C22DB5}"/>
              </a:ext>
            </a:extLst>
          </p:cNvPr>
          <p:cNvCxnSpPr/>
          <p:nvPr userDrawn="1"/>
        </p:nvCxnSpPr>
        <p:spPr>
          <a:xfrm>
            <a:off x="3588514" y="4300953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Szöveg helye 16">
            <a:extLst>
              <a:ext uri="{FF2B5EF4-FFF2-40B4-BE49-F238E27FC236}">
                <a16:creationId xmlns:a16="http://schemas.microsoft.com/office/drawing/2014/main" id="{E85DBA5C-056F-43B3-B802-627B4CB6E4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05188" y="2990712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52" name="Egyenes összekötő 51">
            <a:extLst>
              <a:ext uri="{FF2B5EF4-FFF2-40B4-BE49-F238E27FC236}">
                <a16:creationId xmlns:a16="http://schemas.microsoft.com/office/drawing/2014/main" id="{E06BB1C5-0D0B-491F-B42C-DA143E1D3311}"/>
              </a:ext>
            </a:extLst>
          </p:cNvPr>
          <p:cNvCxnSpPr/>
          <p:nvPr userDrawn="1"/>
        </p:nvCxnSpPr>
        <p:spPr>
          <a:xfrm>
            <a:off x="5405188" y="4298812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Szöveg helye 16">
            <a:extLst>
              <a:ext uri="{FF2B5EF4-FFF2-40B4-BE49-F238E27FC236}">
                <a16:creationId xmlns:a16="http://schemas.microsoft.com/office/drawing/2014/main" id="{0893DAA3-F632-44DB-A31B-5890AEF4DD7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98556" y="2992853"/>
            <a:ext cx="1704694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cxnSp>
        <p:nvCxnSpPr>
          <p:cNvPr id="54" name="Egyenes összekötő 53">
            <a:extLst>
              <a:ext uri="{FF2B5EF4-FFF2-40B4-BE49-F238E27FC236}">
                <a16:creationId xmlns:a16="http://schemas.microsoft.com/office/drawing/2014/main" id="{9718F834-D425-4365-8C8F-27D485A23B73}"/>
              </a:ext>
            </a:extLst>
          </p:cNvPr>
          <p:cNvCxnSpPr/>
          <p:nvPr userDrawn="1"/>
        </p:nvCxnSpPr>
        <p:spPr>
          <a:xfrm>
            <a:off x="7198556" y="4300953"/>
            <a:ext cx="172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66074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8">
            <a:extLst>
              <a:ext uri="{FF2B5EF4-FFF2-40B4-BE49-F238E27FC236}">
                <a16:creationId xmlns:a16="http://schemas.microsoft.com/office/drawing/2014/main" id="{AF1A0D7A-C5E3-48BB-96C3-A8C400C70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000" y="1806300"/>
            <a:ext cx="3960000" cy="3337200"/>
          </a:xfrm>
          <a:solidFill>
            <a:srgbClr val="FF0000"/>
          </a:solidFill>
        </p:spPr>
        <p:txBody>
          <a:bodyPr lIns="360000" tIns="180000"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538163" indent="-179387">
              <a:buClr>
                <a:srgbClr val="FFFFFF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717550" indent="-179388">
              <a:buClr>
                <a:srgbClr val="FFFFFF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9" name="Szöveg helye 8">
            <a:extLst>
              <a:ext uri="{FF2B5EF4-FFF2-40B4-BE49-F238E27FC236}">
                <a16:creationId xmlns:a16="http://schemas.microsoft.com/office/drawing/2014/main" id="{53228D48-C09A-4ADB-ADE2-3DBB8B7D0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2" y="1806300"/>
            <a:ext cx="3960000" cy="3337200"/>
          </a:xfrm>
          <a:solidFill>
            <a:srgbClr val="5CC1CB"/>
          </a:solidFill>
        </p:spPr>
        <p:txBody>
          <a:bodyPr lIns="360000" tIns="180000"/>
          <a:lstStyle>
            <a:lvl1pPr marL="0" indent="0">
              <a:spcAft>
                <a:spcPts val="600"/>
              </a:spcAft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  <a:p>
            <a:pPr lvl="0"/>
            <a:endParaRPr lang="hu-HU" dirty="0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9C8CA302-9178-4CF2-B9A3-E4854A6596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9225" y="2436813"/>
            <a:ext cx="1225550" cy="1479550"/>
          </a:xfrm>
        </p:spPr>
        <p:txBody>
          <a:bodyPr lIns="108000" tIns="252000" bIns="0" anchor="ctr"/>
          <a:lstStyle>
            <a:lvl1pPr algn="l"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 in</a:t>
            </a:r>
          </a:p>
          <a:p>
            <a:pPr lvl="0"/>
            <a:r>
              <a:rPr lang="hu-HU" dirty="0" err="1"/>
              <a:t>uis</a:t>
            </a:r>
            <a:r>
              <a:rPr lang="hu-HU" dirty="0"/>
              <a:t> …</a:t>
            </a:r>
          </a:p>
          <a:p>
            <a:pPr lvl="0"/>
            <a:endParaRPr lang="hu-HU" dirty="0"/>
          </a:p>
        </p:txBody>
      </p:sp>
      <p:cxnSp>
        <p:nvCxnSpPr>
          <p:cNvPr id="12" name="Egyenes összekötő nyíllal 11">
            <a:extLst>
              <a:ext uri="{FF2B5EF4-FFF2-40B4-BE49-F238E27FC236}">
                <a16:creationId xmlns:a16="http://schemas.microsoft.com/office/drawing/2014/main" id="{63B42E42-EC9F-45B6-B0A0-CF85E4877E68}"/>
              </a:ext>
            </a:extLst>
          </p:cNvPr>
          <p:cNvCxnSpPr/>
          <p:nvPr userDrawn="1"/>
        </p:nvCxnSpPr>
        <p:spPr>
          <a:xfrm>
            <a:off x="4094328" y="2088107"/>
            <a:ext cx="573206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Egyenes összekötő nyíllal 15">
            <a:extLst>
              <a:ext uri="{FF2B5EF4-FFF2-40B4-BE49-F238E27FC236}">
                <a16:creationId xmlns:a16="http://schemas.microsoft.com/office/drawing/2014/main" id="{8077554A-698C-4A6B-8ACA-067C11BEB0E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24233" y="4221707"/>
            <a:ext cx="550460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47540BEA-F51F-4A23-8731-C0B8EC2C0A96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Interface</a:t>
            </a:r>
            <a:endParaRPr lang="en-GB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56539A20-8C59-46BA-A5F4-0D8D62CFF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96E294EA-CA46-4A52-A79E-20F091A090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008E336-76B5-4FC7-982E-A2DB9A38F38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8" name="Dia számának helye 4">
            <a:extLst>
              <a:ext uri="{FF2B5EF4-FFF2-40B4-BE49-F238E27FC236}">
                <a16:creationId xmlns:a16="http://schemas.microsoft.com/office/drawing/2014/main" id="{DB20A778-D22F-4522-A860-C2DB03D2F69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74504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fac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8">
            <a:extLst>
              <a:ext uri="{FF2B5EF4-FFF2-40B4-BE49-F238E27FC236}">
                <a16:creationId xmlns:a16="http://schemas.microsoft.com/office/drawing/2014/main" id="{53228D48-C09A-4ADB-ADE2-3DBB8B7D0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2" y="1806300"/>
            <a:ext cx="3960000" cy="3337200"/>
          </a:xfrm>
          <a:solidFill>
            <a:srgbClr val="5CC1CB"/>
          </a:solidFill>
        </p:spPr>
        <p:txBody>
          <a:bodyPr lIns="360000" tIns="180000"/>
          <a:lstStyle>
            <a:lvl1pPr marL="0" indent="0">
              <a:spcAft>
                <a:spcPts val="600"/>
              </a:spcAft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  <a:p>
            <a:pPr lvl="0"/>
            <a:endParaRPr lang="hu-HU" dirty="0"/>
          </a:p>
        </p:txBody>
      </p:sp>
      <p:sp>
        <p:nvSpPr>
          <p:cNvPr id="10" name="Szöveg helye 8">
            <a:extLst>
              <a:ext uri="{FF2B5EF4-FFF2-40B4-BE49-F238E27FC236}">
                <a16:creationId xmlns:a16="http://schemas.microsoft.com/office/drawing/2014/main" id="{AF1A0D7A-C5E3-48BB-96C3-A8C400C70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000" y="1806300"/>
            <a:ext cx="3960000" cy="3337200"/>
          </a:xfrm>
          <a:solidFill>
            <a:srgbClr val="FF0000"/>
          </a:solidFill>
        </p:spPr>
        <p:txBody>
          <a:bodyPr lIns="360000" tIns="180000"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538163" indent="-179387">
              <a:buClr>
                <a:srgbClr val="FFFFFF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717550" indent="-179388">
              <a:buClr>
                <a:srgbClr val="FFFFFF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01CC1849-23CA-4D19-AFC2-FC93858A48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298" y="2311848"/>
            <a:ext cx="1080000" cy="1080000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7593CDB4-3479-42D7-8C62-2B2FE259BB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298" y="2039692"/>
            <a:ext cx="720000" cy="720000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F9A0F1BC-9628-4133-9099-D5F04E965AF0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Interface</a:t>
            </a:r>
            <a:endParaRPr lang="en-GB" dirty="0"/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6D1EEDF3-8B5F-436D-948D-C0D5CC66F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3" name="Dátum helye 2">
            <a:extLst>
              <a:ext uri="{FF2B5EF4-FFF2-40B4-BE49-F238E27FC236}">
                <a16:creationId xmlns:a16="http://schemas.microsoft.com/office/drawing/2014/main" id="{1C2EDED7-EF33-40E1-8E2B-EBB14AE7DA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76D37F8-B889-409A-A791-5712A750ABC4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4" name="Dia számának helye 4">
            <a:extLst>
              <a:ext uri="{FF2B5EF4-FFF2-40B4-BE49-F238E27FC236}">
                <a16:creationId xmlns:a16="http://schemas.microsoft.com/office/drawing/2014/main" id="{FAA41845-0132-47AF-83DF-75706EC5E3B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204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face (3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rtalom helye 9">
            <a:extLst>
              <a:ext uri="{FF2B5EF4-FFF2-40B4-BE49-F238E27FC236}">
                <a16:creationId xmlns:a16="http://schemas.microsoft.com/office/drawing/2014/main" id="{D423452F-F1D1-4349-BAF3-AA42D322CE2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1839836"/>
            <a:ext cx="9144000" cy="3303664"/>
          </a:xfrm>
        </p:spPr>
        <p:txBody>
          <a:bodyPr/>
          <a:lstStyle/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F2B1295A-91F1-4820-A87F-D4E4A4BB4FBE}"/>
              </a:ext>
            </a:extLst>
          </p:cNvPr>
          <p:cNvSpPr/>
          <p:nvPr userDrawn="1"/>
        </p:nvSpPr>
        <p:spPr>
          <a:xfrm>
            <a:off x="0" y="1839835"/>
            <a:ext cx="4589253" cy="3320177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16645940-1F62-4DF7-BA67-8F644CC7B8C2}"/>
              </a:ext>
            </a:extLst>
          </p:cNvPr>
          <p:cNvSpPr/>
          <p:nvPr userDrawn="1"/>
        </p:nvSpPr>
        <p:spPr>
          <a:xfrm>
            <a:off x="4566247" y="1839834"/>
            <a:ext cx="4566249" cy="3320690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FD0FA342-8C49-4FEC-8E22-620634A41C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844040"/>
            <a:ext cx="2544763" cy="477520"/>
          </a:xfrm>
        </p:spPr>
        <p:txBody>
          <a:bodyPr lIns="324000" tIns="180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 marL="717550" indent="-92075"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endParaRPr lang="hu-HU" dirty="0"/>
          </a:p>
        </p:txBody>
      </p:sp>
      <p:sp>
        <p:nvSpPr>
          <p:cNvPr id="18" name="Szöveg helye 16">
            <a:extLst>
              <a:ext uri="{FF2B5EF4-FFF2-40B4-BE49-F238E27FC236}">
                <a16:creationId xmlns:a16="http://schemas.microsoft.com/office/drawing/2014/main" id="{4C2CB5A8-75C1-4549-9256-569062A14A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33886" y="1844039"/>
            <a:ext cx="2544763" cy="477521"/>
          </a:xfrm>
        </p:spPr>
        <p:txBody>
          <a:bodyPr lIns="324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 marL="285751" indent="-285750">
              <a:spcAft>
                <a:spcPts val="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F26CE2B0-9444-4ECC-86AA-843E8406C5E4}"/>
              </a:ext>
            </a:extLst>
          </p:cNvPr>
          <p:cNvSpPr/>
          <p:nvPr userDrawn="1"/>
        </p:nvSpPr>
        <p:spPr>
          <a:xfrm rot="10800000">
            <a:off x="3897189" y="1798044"/>
            <a:ext cx="1339970" cy="168511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Háromszög 18">
            <a:extLst>
              <a:ext uri="{FF2B5EF4-FFF2-40B4-BE49-F238E27FC236}">
                <a16:creationId xmlns:a16="http://schemas.microsoft.com/office/drawing/2014/main" id="{2725A1B3-DD3C-4ABA-A28D-85DDE1A9E2A4}"/>
              </a:ext>
            </a:extLst>
          </p:cNvPr>
          <p:cNvSpPr/>
          <p:nvPr userDrawn="1"/>
        </p:nvSpPr>
        <p:spPr>
          <a:xfrm>
            <a:off x="3879471" y="3491413"/>
            <a:ext cx="1373551" cy="1676856"/>
          </a:xfrm>
          <a:prstGeom prst="triangle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Fußzeilenplatzhalter 6">
            <a:extLst>
              <a:ext uri="{FF2B5EF4-FFF2-40B4-BE49-F238E27FC236}">
                <a16:creationId xmlns:a16="http://schemas.microsoft.com/office/drawing/2014/main" id="{103CF19E-6FB7-401C-858B-72FEE6420B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3" name="Szöveg helye 13">
            <a:extLst>
              <a:ext uri="{FF2B5EF4-FFF2-40B4-BE49-F238E27FC236}">
                <a16:creationId xmlns:a16="http://schemas.microsoft.com/office/drawing/2014/main" id="{1AADA104-687F-425F-9B2E-AB75CA3891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315" y="2329924"/>
            <a:ext cx="1908280" cy="968088"/>
          </a:xfrm>
        </p:spPr>
        <p:txBody>
          <a:bodyPr lIns="360000" tIns="0" bIns="0" anchor="t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A1978D1-BA3A-483C-9BCF-5544C283E2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7159" y="2321560"/>
            <a:ext cx="1908280" cy="968088"/>
          </a:xfrm>
        </p:spPr>
        <p:txBody>
          <a:bodyPr lIns="360000" tIns="0" bIns="0" anchor="t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16" name="Cím 1">
            <a:extLst>
              <a:ext uri="{FF2B5EF4-FFF2-40B4-BE49-F238E27FC236}">
                <a16:creationId xmlns:a16="http://schemas.microsoft.com/office/drawing/2014/main" id="{EDC8C5D9-F15D-4211-B781-9F07FBEBC9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Interface</a:t>
            </a:r>
            <a:endParaRPr lang="hu-HU" dirty="0"/>
          </a:p>
        </p:txBody>
      </p:sp>
      <p:sp>
        <p:nvSpPr>
          <p:cNvPr id="20" name="Dátum helye 2">
            <a:extLst>
              <a:ext uri="{FF2B5EF4-FFF2-40B4-BE49-F238E27FC236}">
                <a16:creationId xmlns:a16="http://schemas.microsoft.com/office/drawing/2014/main" id="{0D167B8E-AD4E-4F37-9FC2-CF0816084A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8F7F0E66-F402-44AE-9250-CC61244AB3E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4" name="Dia számának helye 4">
            <a:extLst>
              <a:ext uri="{FF2B5EF4-FFF2-40B4-BE49-F238E27FC236}">
                <a16:creationId xmlns:a16="http://schemas.microsoft.com/office/drawing/2014/main" id="{C3D3FAD4-6C5F-4F2F-B1BF-1E071846E06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87581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fac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Egyenes összekötő 3">
            <a:extLst>
              <a:ext uri="{FF2B5EF4-FFF2-40B4-BE49-F238E27FC236}">
                <a16:creationId xmlns:a16="http://schemas.microsoft.com/office/drawing/2014/main" id="{FC61DE04-31A3-46B4-8583-BE2194EC54D6}"/>
              </a:ext>
            </a:extLst>
          </p:cNvPr>
          <p:cNvCxnSpPr/>
          <p:nvPr userDrawn="1"/>
        </p:nvCxnSpPr>
        <p:spPr>
          <a:xfrm>
            <a:off x="765049" y="2101755"/>
            <a:ext cx="2277457" cy="12700"/>
          </a:xfrm>
          <a:prstGeom prst="curvedConnector3">
            <a:avLst>
              <a:gd name="adj1" fmla="val 50000"/>
            </a:avLst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>
            <a:extLst>
              <a:ext uri="{FF2B5EF4-FFF2-40B4-BE49-F238E27FC236}">
                <a16:creationId xmlns:a16="http://schemas.microsoft.com/office/drawing/2014/main" id="{433F2150-BD73-4B9C-9A32-7D7F05578463}"/>
              </a:ext>
            </a:extLst>
          </p:cNvPr>
          <p:cNvCxnSpPr/>
          <p:nvPr userDrawn="1"/>
        </p:nvCxnSpPr>
        <p:spPr>
          <a:xfrm>
            <a:off x="764275" y="3345975"/>
            <a:ext cx="2277457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>
            <a:extLst>
              <a:ext uri="{FF2B5EF4-FFF2-40B4-BE49-F238E27FC236}">
                <a16:creationId xmlns:a16="http://schemas.microsoft.com/office/drawing/2014/main" id="{98E8C540-C0E3-4331-8AF6-D7808FB75943}"/>
              </a:ext>
            </a:extLst>
          </p:cNvPr>
          <p:cNvCxnSpPr/>
          <p:nvPr userDrawn="1"/>
        </p:nvCxnSpPr>
        <p:spPr>
          <a:xfrm>
            <a:off x="3812491" y="2101755"/>
            <a:ext cx="2277457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B4E0545F-C642-4A7F-847E-E5A4C2CA033A}"/>
              </a:ext>
            </a:extLst>
          </p:cNvPr>
          <p:cNvCxnSpPr/>
          <p:nvPr userDrawn="1"/>
        </p:nvCxnSpPr>
        <p:spPr>
          <a:xfrm>
            <a:off x="3808157" y="3334602"/>
            <a:ext cx="2277457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>
            <a:extLst>
              <a:ext uri="{FF2B5EF4-FFF2-40B4-BE49-F238E27FC236}">
                <a16:creationId xmlns:a16="http://schemas.microsoft.com/office/drawing/2014/main" id="{CD162286-BF26-487E-875A-318ABF364EC0}"/>
              </a:ext>
            </a:extLst>
          </p:cNvPr>
          <p:cNvCxnSpPr>
            <a:cxnSpLocks/>
          </p:cNvCxnSpPr>
          <p:nvPr userDrawn="1"/>
        </p:nvCxnSpPr>
        <p:spPr>
          <a:xfrm flipV="1">
            <a:off x="3033872" y="1850468"/>
            <a:ext cx="207698" cy="272655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BAB7EAF4-5BAE-4451-8792-0CA7F21E95C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230177" y="1850468"/>
            <a:ext cx="254077" cy="212096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Egyenes összekötő 22">
            <a:extLst>
              <a:ext uri="{FF2B5EF4-FFF2-40B4-BE49-F238E27FC236}">
                <a16:creationId xmlns:a16="http://schemas.microsoft.com/office/drawing/2014/main" id="{6A826411-9CD4-48A3-A1EA-4E4B0F2791CB}"/>
              </a:ext>
            </a:extLst>
          </p:cNvPr>
          <p:cNvCxnSpPr>
            <a:cxnSpLocks/>
          </p:cNvCxnSpPr>
          <p:nvPr userDrawn="1"/>
        </p:nvCxnSpPr>
        <p:spPr>
          <a:xfrm flipV="1">
            <a:off x="3617761" y="2101755"/>
            <a:ext cx="207698" cy="272655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Egyenes összekötő 23">
            <a:extLst>
              <a:ext uri="{FF2B5EF4-FFF2-40B4-BE49-F238E27FC236}">
                <a16:creationId xmlns:a16="http://schemas.microsoft.com/office/drawing/2014/main" id="{593DDFB5-D4C4-4E99-8BCE-1338A08CE4C3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382577" y="2153282"/>
            <a:ext cx="254077" cy="212096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24">
            <a:extLst>
              <a:ext uri="{FF2B5EF4-FFF2-40B4-BE49-F238E27FC236}">
                <a16:creationId xmlns:a16="http://schemas.microsoft.com/office/drawing/2014/main" id="{5632356D-803F-47E5-AC91-800715BAF3CE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033874" y="3337817"/>
            <a:ext cx="339868" cy="315449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Egyenes összekötő 25">
            <a:extLst>
              <a:ext uri="{FF2B5EF4-FFF2-40B4-BE49-F238E27FC236}">
                <a16:creationId xmlns:a16="http://schemas.microsoft.com/office/drawing/2014/main" id="{26A48026-66F8-461D-B098-D3812789CF36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562748" y="3122140"/>
            <a:ext cx="254077" cy="212096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Egyenes összekötő nyíllal 27">
            <a:extLst>
              <a:ext uri="{FF2B5EF4-FFF2-40B4-BE49-F238E27FC236}">
                <a16:creationId xmlns:a16="http://schemas.microsoft.com/office/drawing/2014/main" id="{52130F44-7E8D-4D7D-B2CE-6517C273048F}"/>
              </a:ext>
            </a:extLst>
          </p:cNvPr>
          <p:cNvCxnSpPr>
            <a:cxnSpLocks/>
          </p:cNvCxnSpPr>
          <p:nvPr userDrawn="1"/>
        </p:nvCxnSpPr>
        <p:spPr>
          <a:xfrm flipH="1">
            <a:off x="3373742" y="3122140"/>
            <a:ext cx="205533" cy="26244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2" name="Egyenes összekötő nyíllal 31">
            <a:extLst>
              <a:ext uri="{FF2B5EF4-FFF2-40B4-BE49-F238E27FC236}">
                <a16:creationId xmlns:a16="http://schemas.microsoft.com/office/drawing/2014/main" id="{967A2422-6BBC-447A-802D-DA1C370664C0}"/>
              </a:ext>
            </a:extLst>
          </p:cNvPr>
          <p:cNvCxnSpPr>
            <a:cxnSpLocks/>
          </p:cNvCxnSpPr>
          <p:nvPr userDrawn="1"/>
        </p:nvCxnSpPr>
        <p:spPr>
          <a:xfrm flipV="1">
            <a:off x="3357215" y="3407947"/>
            <a:ext cx="220612" cy="245319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Titel 1">
            <a:extLst>
              <a:ext uri="{FF2B5EF4-FFF2-40B4-BE49-F238E27FC236}">
                <a16:creationId xmlns:a16="http://schemas.microsoft.com/office/drawing/2014/main" id="{90B905F4-093E-4803-9B4C-64FCCD94285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Interface</a:t>
            </a:r>
            <a:endParaRPr lang="en-GB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83450575-7321-4112-AE83-5065AC5D9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1" name="Dátum helye 2">
            <a:extLst>
              <a:ext uri="{FF2B5EF4-FFF2-40B4-BE49-F238E27FC236}">
                <a16:creationId xmlns:a16="http://schemas.microsoft.com/office/drawing/2014/main" id="{9970D6C4-5D9B-4309-94E9-FEDD42959B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77476123-1FDE-4868-AD78-1186254D3E33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2" name="Dia számának helye 4">
            <a:extLst>
              <a:ext uri="{FF2B5EF4-FFF2-40B4-BE49-F238E27FC236}">
                <a16:creationId xmlns:a16="http://schemas.microsoft.com/office/drawing/2014/main" id="{5F605798-9E73-4C13-BF06-75AA0D254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222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fac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21586B9-E7A8-4B1C-AD3B-E29A0A91717E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Interface</a:t>
            </a:r>
            <a:endParaRPr lang="en-GB" dirty="0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66C3A3D2-8E19-4204-AE19-17AB58CFA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D5502D-3575-45B3-B596-49950552B5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644" y="1262995"/>
            <a:ext cx="6824712" cy="2638444"/>
          </a:xfrm>
          <a:prstGeom prst="rect">
            <a:avLst/>
          </a:prstGeom>
        </p:spPr>
      </p:pic>
      <p:sp>
        <p:nvSpPr>
          <p:cNvPr id="14" name="Szöveg helye 4">
            <a:extLst>
              <a:ext uri="{FF2B5EF4-FFF2-40B4-BE49-F238E27FC236}">
                <a16:creationId xmlns:a16="http://schemas.microsoft.com/office/drawing/2014/main" id="{BEB28706-2E2A-4DEC-9071-AAB3A83D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58577" y="2101235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5" name="Szöveg helye 4">
            <a:extLst>
              <a:ext uri="{FF2B5EF4-FFF2-40B4-BE49-F238E27FC236}">
                <a16:creationId xmlns:a16="http://schemas.microsoft.com/office/drawing/2014/main" id="{BFEE00CC-E3A0-42C5-9CAE-30A515A80B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70404" y="2813143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6" name="Szöveg helye 4">
            <a:extLst>
              <a:ext uri="{FF2B5EF4-FFF2-40B4-BE49-F238E27FC236}">
                <a16:creationId xmlns:a16="http://schemas.microsoft.com/office/drawing/2014/main" id="{D24BBF10-B361-46B9-9D95-47801B91D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017" y="2808038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0" name="Szöveg helye 4">
            <a:extLst>
              <a:ext uri="{FF2B5EF4-FFF2-40B4-BE49-F238E27FC236}">
                <a16:creationId xmlns:a16="http://schemas.microsoft.com/office/drawing/2014/main" id="{48FB64C0-3974-46BD-88AE-23D436CE6A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23859" y="2101235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1" name="Szöveg helye 4">
            <a:extLst>
              <a:ext uri="{FF2B5EF4-FFF2-40B4-BE49-F238E27FC236}">
                <a16:creationId xmlns:a16="http://schemas.microsoft.com/office/drawing/2014/main" id="{942126D5-BD68-44F7-91EE-EAE3790FA1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35686" y="2813143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2" name="Szöveg helye 4">
            <a:extLst>
              <a:ext uri="{FF2B5EF4-FFF2-40B4-BE49-F238E27FC236}">
                <a16:creationId xmlns:a16="http://schemas.microsoft.com/office/drawing/2014/main" id="{0397DBED-B456-45BA-BC6C-71323F7DFA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2299" y="2808038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6" name="Szöveg helye 4">
            <a:extLst>
              <a:ext uri="{FF2B5EF4-FFF2-40B4-BE49-F238E27FC236}">
                <a16:creationId xmlns:a16="http://schemas.microsoft.com/office/drawing/2014/main" id="{31B4FCC3-9A00-4E38-84BA-F733E7E728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6303" y="2097414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7" name="Szöveg helye 4">
            <a:extLst>
              <a:ext uri="{FF2B5EF4-FFF2-40B4-BE49-F238E27FC236}">
                <a16:creationId xmlns:a16="http://schemas.microsoft.com/office/drawing/2014/main" id="{83F53E46-8EAC-4D9E-9810-8322A66161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8130" y="2809322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8" name="Szöveg helye 4">
            <a:extLst>
              <a:ext uri="{FF2B5EF4-FFF2-40B4-BE49-F238E27FC236}">
                <a16:creationId xmlns:a16="http://schemas.microsoft.com/office/drawing/2014/main" id="{E17A7756-8206-4403-A876-A75C0927DA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44743" y="2804217"/>
            <a:ext cx="417513" cy="238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8361E9E5-B130-4ADC-A9B1-B519BCC2C9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A38A6B1-B066-40A1-9A55-DC101F1C21F5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8" name="Dia számának helye 4">
            <a:extLst>
              <a:ext uri="{FF2B5EF4-FFF2-40B4-BE49-F238E27FC236}">
                <a16:creationId xmlns:a16="http://schemas.microsoft.com/office/drawing/2014/main" id="{00ADF894-B3F0-4072-AED3-BC301B90B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48115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equ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rtalom helye 3">
            <a:extLst>
              <a:ext uri="{FF2B5EF4-FFF2-40B4-BE49-F238E27FC236}">
                <a16:creationId xmlns:a16="http://schemas.microsoft.com/office/drawing/2014/main" id="{9989BF99-1555-4592-8FD0-7EC8E333569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-2" y="1806300"/>
            <a:ext cx="9144000" cy="33372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B1B3C300-196A-406C-8233-C677B1C05B23}"/>
              </a:ext>
            </a:extLst>
          </p:cNvPr>
          <p:cNvSpPr/>
          <p:nvPr userDrawn="1"/>
        </p:nvSpPr>
        <p:spPr>
          <a:xfrm>
            <a:off x="4571998" y="1806300"/>
            <a:ext cx="4572000" cy="3345417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5DF78BC4-3DCE-4BDF-8860-BC83FF513A0A}"/>
              </a:ext>
            </a:extLst>
          </p:cNvPr>
          <p:cNvSpPr/>
          <p:nvPr userDrawn="1"/>
        </p:nvSpPr>
        <p:spPr>
          <a:xfrm>
            <a:off x="-2" y="1806300"/>
            <a:ext cx="4572000" cy="33372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Háromszög 12">
            <a:extLst>
              <a:ext uri="{FF2B5EF4-FFF2-40B4-BE49-F238E27FC236}">
                <a16:creationId xmlns:a16="http://schemas.microsoft.com/office/drawing/2014/main" id="{6D67B3B2-16D5-4BF2-A311-AB4972738A05}"/>
              </a:ext>
            </a:extLst>
          </p:cNvPr>
          <p:cNvSpPr/>
          <p:nvPr userDrawn="1"/>
        </p:nvSpPr>
        <p:spPr>
          <a:xfrm rot="5400000">
            <a:off x="4393530" y="3319233"/>
            <a:ext cx="563671" cy="333957"/>
          </a:xfrm>
          <a:prstGeom prst="triangle">
            <a:avLst>
              <a:gd name="adj" fmla="val 48360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BBCE8CBE-1BA7-4767-BCC9-2BC03631CA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592" y="1805873"/>
            <a:ext cx="3155950" cy="2185987"/>
          </a:xfrm>
        </p:spPr>
        <p:txBody>
          <a:bodyPr lIns="36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E3B9F6BC-32B1-4902-9AF2-836D26D76F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1998" y="1806300"/>
            <a:ext cx="3155950" cy="2185987"/>
          </a:xfrm>
        </p:spPr>
        <p:txBody>
          <a:bodyPr lIns="360000" tIns="180000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  <a:lvl2pPr>
              <a:defRPr>
                <a:solidFill>
                  <a:srgbClr val="B00402"/>
                </a:solidFill>
              </a:defRPr>
            </a:lvl2pPr>
            <a:lvl3pPr>
              <a:defRPr>
                <a:solidFill>
                  <a:srgbClr val="B00402"/>
                </a:solidFill>
              </a:defRPr>
            </a:lvl3pPr>
            <a:lvl4pPr>
              <a:defRPr>
                <a:solidFill>
                  <a:srgbClr val="B00402"/>
                </a:solidFill>
              </a:defRPr>
            </a:lvl4pPr>
            <a:lvl5pPr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A941EED-6EF8-4767-9E42-461FD549B14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sequence</a:t>
            </a:r>
            <a:endParaRPr lang="en-GB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7AC1CF4B-22F9-44B8-9FE1-9B9CAA9D4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5" name="Dátum helye 2">
            <a:extLst>
              <a:ext uri="{FF2B5EF4-FFF2-40B4-BE49-F238E27FC236}">
                <a16:creationId xmlns:a16="http://schemas.microsoft.com/office/drawing/2014/main" id="{620F1AB7-7440-4C83-BCE8-30963084D6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AC750B49-CF6C-47C2-9311-431ACC56399E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18" name="Dia számának helye 4">
            <a:extLst>
              <a:ext uri="{FF2B5EF4-FFF2-40B4-BE49-F238E27FC236}">
                <a16:creationId xmlns:a16="http://schemas.microsoft.com/office/drawing/2014/main" id="{A6DC89C2-C86F-4D8C-89B9-7534D01A3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65358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l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yíl: ötszög 4">
            <a:extLst>
              <a:ext uri="{FF2B5EF4-FFF2-40B4-BE49-F238E27FC236}">
                <a16:creationId xmlns:a16="http://schemas.microsoft.com/office/drawing/2014/main" id="{C19031A4-1D51-4DB5-985D-D3CD49F82801}"/>
              </a:ext>
            </a:extLst>
          </p:cNvPr>
          <p:cNvSpPr/>
          <p:nvPr userDrawn="1"/>
        </p:nvSpPr>
        <p:spPr>
          <a:xfrm>
            <a:off x="377825" y="1226232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11" name="Nyíl: ötszög 10">
            <a:extLst>
              <a:ext uri="{FF2B5EF4-FFF2-40B4-BE49-F238E27FC236}">
                <a16:creationId xmlns:a16="http://schemas.microsoft.com/office/drawing/2014/main" id="{07F05531-7F8D-40E5-B7F5-BD7A46A502FE}"/>
              </a:ext>
            </a:extLst>
          </p:cNvPr>
          <p:cNvSpPr/>
          <p:nvPr userDrawn="1"/>
        </p:nvSpPr>
        <p:spPr>
          <a:xfrm>
            <a:off x="377825" y="3103372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Nyíl: ötszög 11">
            <a:extLst>
              <a:ext uri="{FF2B5EF4-FFF2-40B4-BE49-F238E27FC236}">
                <a16:creationId xmlns:a16="http://schemas.microsoft.com/office/drawing/2014/main" id="{8CA84D72-23B2-45DC-870A-C8562EFA8E5D}"/>
              </a:ext>
            </a:extLst>
          </p:cNvPr>
          <p:cNvSpPr/>
          <p:nvPr userDrawn="1"/>
        </p:nvSpPr>
        <p:spPr>
          <a:xfrm rot="10800000">
            <a:off x="4377210" y="1242665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Nyíl: ötszög 12">
            <a:extLst>
              <a:ext uri="{FF2B5EF4-FFF2-40B4-BE49-F238E27FC236}">
                <a16:creationId xmlns:a16="http://schemas.microsoft.com/office/drawing/2014/main" id="{4BD16321-58A4-46B5-852E-E968A8BB1FF6}"/>
              </a:ext>
            </a:extLst>
          </p:cNvPr>
          <p:cNvSpPr/>
          <p:nvPr userDrawn="1"/>
        </p:nvSpPr>
        <p:spPr>
          <a:xfrm rot="10800000">
            <a:off x="4377210" y="3108761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BBC767A-4A05-4181-90BF-25DF2D49C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6" y="1209799"/>
            <a:ext cx="2651125" cy="585873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5" name="Szöveg helye 13">
            <a:extLst>
              <a:ext uri="{FF2B5EF4-FFF2-40B4-BE49-F238E27FC236}">
                <a16:creationId xmlns:a16="http://schemas.microsoft.com/office/drawing/2014/main" id="{4ED28F89-DD0C-4B38-86F1-5D6258B605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402" y="1828538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CEF5D7DF-4145-404B-9C98-9EC777D1B4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98629" y="1222579"/>
            <a:ext cx="2651125" cy="58587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9" name="Szöveg helye 13">
            <a:extLst>
              <a:ext uri="{FF2B5EF4-FFF2-40B4-BE49-F238E27FC236}">
                <a16:creationId xmlns:a16="http://schemas.microsoft.com/office/drawing/2014/main" id="{9236B9B9-69CC-410B-9688-62917C390C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98630" y="3108760"/>
            <a:ext cx="2651125" cy="585873"/>
          </a:xfrm>
        </p:spPr>
        <p:txBody>
          <a:bodyPr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pic>
        <p:nvPicPr>
          <p:cNvPr id="23" name="Kép 22">
            <a:extLst>
              <a:ext uri="{FF2B5EF4-FFF2-40B4-BE49-F238E27FC236}">
                <a16:creationId xmlns:a16="http://schemas.microsoft.com/office/drawing/2014/main" id="{8A0016A2-76D0-4B62-9BBD-AF81E68C0A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9578" y="1008762"/>
            <a:ext cx="1080000" cy="1080000"/>
          </a:xfrm>
          <a:prstGeom prst="rect">
            <a:avLst/>
          </a:prstGeom>
        </p:spPr>
      </p:pic>
      <p:sp>
        <p:nvSpPr>
          <p:cNvPr id="26" name="Szöveg helye 13">
            <a:extLst>
              <a:ext uri="{FF2B5EF4-FFF2-40B4-BE49-F238E27FC236}">
                <a16:creationId xmlns:a16="http://schemas.microsoft.com/office/drawing/2014/main" id="{56C99AC6-E88B-4BA2-8621-B040B42E0B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0205" y="1808701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7" name="Szöveg helye 13">
            <a:extLst>
              <a:ext uri="{FF2B5EF4-FFF2-40B4-BE49-F238E27FC236}">
                <a16:creationId xmlns:a16="http://schemas.microsoft.com/office/drawing/2014/main" id="{B1C317C2-17FC-4D48-B454-A1BEF24148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401" y="3678467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8" name="Szöveg helye 13">
            <a:extLst>
              <a:ext uri="{FF2B5EF4-FFF2-40B4-BE49-F238E27FC236}">
                <a16:creationId xmlns:a16="http://schemas.microsoft.com/office/drawing/2014/main" id="{8DEE3467-A50E-43C7-8A9D-BF062827D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0205" y="3694633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pic>
        <p:nvPicPr>
          <p:cNvPr id="22" name="Kép 21">
            <a:extLst>
              <a:ext uri="{FF2B5EF4-FFF2-40B4-BE49-F238E27FC236}">
                <a16:creationId xmlns:a16="http://schemas.microsoft.com/office/drawing/2014/main" id="{C62B4485-A63F-4888-9C73-BD77F5E8F72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365" y="3227374"/>
            <a:ext cx="491792" cy="339405"/>
          </a:xfrm>
          <a:prstGeom prst="rect">
            <a:avLst/>
          </a:prstGeom>
        </p:spPr>
      </p:pic>
      <p:sp>
        <p:nvSpPr>
          <p:cNvPr id="33" name="Szöveg helye 13">
            <a:extLst>
              <a:ext uri="{FF2B5EF4-FFF2-40B4-BE49-F238E27FC236}">
                <a16:creationId xmlns:a16="http://schemas.microsoft.com/office/drawing/2014/main" id="{C0D4B1A9-FCAF-48CB-9B70-A4ECB4671A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9402" y="3108760"/>
            <a:ext cx="2651125" cy="585873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A03CE744-757D-43AA-8B5E-45047C267A17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flict</a:t>
            </a:r>
            <a:endParaRPr lang="en-GB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51B1EEEC-2CAE-4494-90E5-2792A60DA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9" name="Dátum helye 2">
            <a:extLst>
              <a:ext uri="{FF2B5EF4-FFF2-40B4-BE49-F238E27FC236}">
                <a16:creationId xmlns:a16="http://schemas.microsoft.com/office/drawing/2014/main" id="{CDB9C080-867C-4CAF-811D-80122384D6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C5E1423-9825-472A-84CC-733588A87B90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0" name="Dia számának helye 4">
            <a:extLst>
              <a:ext uri="{FF2B5EF4-FFF2-40B4-BE49-F238E27FC236}">
                <a16:creationId xmlns:a16="http://schemas.microsoft.com/office/drawing/2014/main" id="{E7C9119E-3F05-42C4-AFFF-361792E52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36035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lict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yíl: ötszög 4">
            <a:extLst>
              <a:ext uri="{FF2B5EF4-FFF2-40B4-BE49-F238E27FC236}">
                <a16:creationId xmlns:a16="http://schemas.microsoft.com/office/drawing/2014/main" id="{C19031A4-1D51-4DB5-985D-D3CD49F82801}"/>
              </a:ext>
            </a:extLst>
          </p:cNvPr>
          <p:cNvSpPr/>
          <p:nvPr userDrawn="1"/>
        </p:nvSpPr>
        <p:spPr>
          <a:xfrm>
            <a:off x="377825" y="1226232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11" name="Nyíl: ötszög 10">
            <a:extLst>
              <a:ext uri="{FF2B5EF4-FFF2-40B4-BE49-F238E27FC236}">
                <a16:creationId xmlns:a16="http://schemas.microsoft.com/office/drawing/2014/main" id="{07F05531-7F8D-40E5-B7F5-BD7A46A502FE}"/>
              </a:ext>
            </a:extLst>
          </p:cNvPr>
          <p:cNvSpPr/>
          <p:nvPr userDrawn="1"/>
        </p:nvSpPr>
        <p:spPr>
          <a:xfrm>
            <a:off x="377825" y="3103372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Nyíl: ötszög 11">
            <a:extLst>
              <a:ext uri="{FF2B5EF4-FFF2-40B4-BE49-F238E27FC236}">
                <a16:creationId xmlns:a16="http://schemas.microsoft.com/office/drawing/2014/main" id="{8CA84D72-23B2-45DC-870A-C8562EFA8E5D}"/>
              </a:ext>
            </a:extLst>
          </p:cNvPr>
          <p:cNvSpPr/>
          <p:nvPr userDrawn="1"/>
        </p:nvSpPr>
        <p:spPr>
          <a:xfrm rot="10800000">
            <a:off x="4377210" y="1242665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Nyíl: ötszög 12">
            <a:extLst>
              <a:ext uri="{FF2B5EF4-FFF2-40B4-BE49-F238E27FC236}">
                <a16:creationId xmlns:a16="http://schemas.microsoft.com/office/drawing/2014/main" id="{4BD16321-58A4-46B5-852E-E968A8BB1FF6}"/>
              </a:ext>
            </a:extLst>
          </p:cNvPr>
          <p:cNvSpPr/>
          <p:nvPr userDrawn="1"/>
        </p:nvSpPr>
        <p:spPr>
          <a:xfrm rot="10800000">
            <a:off x="4377210" y="3108761"/>
            <a:ext cx="298412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BBC767A-4A05-4181-90BF-25DF2D49C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6" y="1209799"/>
            <a:ext cx="2651125" cy="585873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5" name="Szöveg helye 13">
            <a:extLst>
              <a:ext uri="{FF2B5EF4-FFF2-40B4-BE49-F238E27FC236}">
                <a16:creationId xmlns:a16="http://schemas.microsoft.com/office/drawing/2014/main" id="{4ED28F89-DD0C-4B38-86F1-5D6258B605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402" y="1828538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CEF5D7DF-4145-404B-9C98-9EC777D1B4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98629" y="1222579"/>
            <a:ext cx="2651125" cy="58587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B23310A8-AD58-4A3B-BF8B-6603752A5F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9402" y="3108760"/>
            <a:ext cx="2651125" cy="585873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9" name="Szöveg helye 13">
            <a:extLst>
              <a:ext uri="{FF2B5EF4-FFF2-40B4-BE49-F238E27FC236}">
                <a16:creationId xmlns:a16="http://schemas.microsoft.com/office/drawing/2014/main" id="{9236B9B9-69CC-410B-9688-62917C390C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98630" y="3108760"/>
            <a:ext cx="2651125" cy="585873"/>
          </a:xfrm>
        </p:spPr>
        <p:txBody>
          <a:bodyPr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6" name="Szöveg helye 13">
            <a:extLst>
              <a:ext uri="{FF2B5EF4-FFF2-40B4-BE49-F238E27FC236}">
                <a16:creationId xmlns:a16="http://schemas.microsoft.com/office/drawing/2014/main" id="{56C99AC6-E88B-4BA2-8621-B040B42E0B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0205" y="1808701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7" name="Szöveg helye 13">
            <a:extLst>
              <a:ext uri="{FF2B5EF4-FFF2-40B4-BE49-F238E27FC236}">
                <a16:creationId xmlns:a16="http://schemas.microsoft.com/office/drawing/2014/main" id="{B1C317C2-17FC-4D48-B454-A1BEF24148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401" y="3678467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8" name="Szöveg helye 13">
            <a:extLst>
              <a:ext uri="{FF2B5EF4-FFF2-40B4-BE49-F238E27FC236}">
                <a16:creationId xmlns:a16="http://schemas.microsoft.com/office/drawing/2014/main" id="{8DEE3467-A50E-43C7-8A9D-BF062827D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0205" y="3694633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pic>
        <p:nvPicPr>
          <p:cNvPr id="23" name="Kép 22">
            <a:extLst>
              <a:ext uri="{FF2B5EF4-FFF2-40B4-BE49-F238E27FC236}">
                <a16:creationId xmlns:a16="http://schemas.microsoft.com/office/drawing/2014/main" id="{F221671B-7A97-4295-9ECB-28321A9296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365" y="3227374"/>
            <a:ext cx="491792" cy="339405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91F6052E-BFDB-4C50-AB0A-227CA9BED1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4593" y="1242719"/>
            <a:ext cx="469969" cy="569386"/>
          </a:xfrm>
          <a:prstGeom prst="rect">
            <a:avLst/>
          </a:prstGeom>
        </p:spPr>
      </p:pic>
      <p:sp>
        <p:nvSpPr>
          <p:cNvPr id="24" name="Titel 1">
            <a:extLst>
              <a:ext uri="{FF2B5EF4-FFF2-40B4-BE49-F238E27FC236}">
                <a16:creationId xmlns:a16="http://schemas.microsoft.com/office/drawing/2014/main" id="{B7859E06-57E6-4757-B9C8-26FEECADAF30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flict</a:t>
            </a:r>
            <a:endParaRPr lang="en-GB" dirty="0"/>
          </a:p>
        </p:txBody>
      </p:sp>
      <p:sp>
        <p:nvSpPr>
          <p:cNvPr id="30" name="Fußzeilenplatzhalter 6">
            <a:extLst>
              <a:ext uri="{FF2B5EF4-FFF2-40B4-BE49-F238E27FC236}">
                <a16:creationId xmlns:a16="http://schemas.microsoft.com/office/drawing/2014/main" id="{D08A1A40-B207-44B7-B810-F58B77B0D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0" name="Dátum helye 2">
            <a:extLst>
              <a:ext uri="{FF2B5EF4-FFF2-40B4-BE49-F238E27FC236}">
                <a16:creationId xmlns:a16="http://schemas.microsoft.com/office/drawing/2014/main" id="{8C56A8E1-B19B-4D59-ABF8-0CC4527A00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8BE6FC0-9205-4DFA-9215-5B01579348DE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1" name="Dia számának helye 4">
            <a:extLst>
              <a:ext uri="{FF2B5EF4-FFF2-40B4-BE49-F238E27FC236}">
                <a16:creationId xmlns:a16="http://schemas.microsoft.com/office/drawing/2014/main" id="{347F5ABE-C7E8-4869-8523-76620CD56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2387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EFA3B38-3F52-458D-9D86-CF2E2515B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Workshop agenda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DC39100-2B3A-47B8-9846-95B123CFB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4FC1FB08-E21F-4673-A6B0-78501EA9AD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9213" y="3078455"/>
            <a:ext cx="1397000" cy="473411"/>
          </a:xfrm>
          <a:solidFill>
            <a:srgbClr val="C00000"/>
          </a:solidFill>
        </p:spPr>
        <p:txBody>
          <a:bodyPr lIns="3600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D12E1914-E2D3-4B55-B4E2-5A3DD05E06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00" y="3637686"/>
            <a:ext cx="1397000" cy="466240"/>
          </a:xfrm>
          <a:solidFill>
            <a:schemeClr val="bg1">
              <a:lumMod val="85000"/>
              <a:alpha val="62000"/>
            </a:schemeClr>
          </a:solidFill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pic>
        <p:nvPicPr>
          <p:cNvPr id="36" name="Grafik 3">
            <a:extLst>
              <a:ext uri="{FF2B5EF4-FFF2-40B4-BE49-F238E27FC236}">
                <a16:creationId xmlns:a16="http://schemas.microsoft.com/office/drawing/2014/main" id="{BADDAAFC-DA6B-4B94-A901-8E05C5C2DC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110" y="4320701"/>
            <a:ext cx="1548000" cy="458538"/>
          </a:xfrm>
          <a:prstGeom prst="rect">
            <a:avLst/>
          </a:prstGeom>
        </p:spPr>
      </p:pic>
      <p:sp>
        <p:nvSpPr>
          <p:cNvPr id="11" name="Szöveg helye 26">
            <a:extLst>
              <a:ext uri="{FF2B5EF4-FFF2-40B4-BE49-F238E27FC236}">
                <a16:creationId xmlns:a16="http://schemas.microsoft.com/office/drawing/2014/main" id="{31F8A320-5A51-4AB2-91E5-4E23B4F631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000" y="2519224"/>
            <a:ext cx="1397000" cy="473411"/>
          </a:xfrm>
          <a:solidFill>
            <a:schemeClr val="bg1">
              <a:lumMod val="85000"/>
              <a:alpha val="62000"/>
            </a:schemeClr>
          </a:solidFill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2" name="Szöveg helye 26">
            <a:extLst>
              <a:ext uri="{FF2B5EF4-FFF2-40B4-BE49-F238E27FC236}">
                <a16:creationId xmlns:a16="http://schemas.microsoft.com/office/drawing/2014/main" id="{AE1EFEF4-8DF9-4A09-95EE-3F5AEEBBD6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213" y="1959993"/>
            <a:ext cx="1397000" cy="473411"/>
          </a:xfrm>
          <a:solidFill>
            <a:schemeClr val="bg1">
              <a:lumMod val="85000"/>
              <a:alpha val="62000"/>
            </a:schemeClr>
          </a:solidFill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3" name="Szöveg helye 26">
            <a:extLst>
              <a:ext uri="{FF2B5EF4-FFF2-40B4-BE49-F238E27FC236}">
                <a16:creationId xmlns:a16="http://schemas.microsoft.com/office/drawing/2014/main" id="{074DDB02-702D-4C7B-B893-537455E971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213" y="1400762"/>
            <a:ext cx="1397000" cy="473411"/>
          </a:xfrm>
          <a:solidFill>
            <a:schemeClr val="bg1">
              <a:lumMod val="85000"/>
              <a:alpha val="62000"/>
            </a:schemeClr>
          </a:solidFill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4" name="Szöveg helye 26">
            <a:extLst>
              <a:ext uri="{FF2B5EF4-FFF2-40B4-BE49-F238E27FC236}">
                <a16:creationId xmlns:a16="http://schemas.microsoft.com/office/drawing/2014/main" id="{8676869B-FFC9-409A-B10A-931B40FB57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6213" y="3078382"/>
            <a:ext cx="5243787" cy="470371"/>
          </a:xfrm>
          <a:solidFill>
            <a:srgbClr val="EA1C0A"/>
          </a:solidFill>
        </p:spPr>
        <p:txBody>
          <a:bodyPr lIns="108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5" name="Szöveg helye 26">
            <a:extLst>
              <a:ext uri="{FF2B5EF4-FFF2-40B4-BE49-F238E27FC236}">
                <a16:creationId xmlns:a16="http://schemas.microsoft.com/office/drawing/2014/main" id="{9FDBE088-3C38-427D-B2CE-F6C1DFB6CD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17667" y="3077153"/>
            <a:ext cx="1709773" cy="471600"/>
          </a:xfrm>
          <a:solidFill>
            <a:srgbClr val="5CC1CB"/>
          </a:solidFill>
        </p:spPr>
        <p:txBody>
          <a:bodyPr lIns="36000" anchor="ctr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6" name="Szöveg helye 26">
            <a:extLst>
              <a:ext uri="{FF2B5EF4-FFF2-40B4-BE49-F238E27FC236}">
                <a16:creationId xmlns:a16="http://schemas.microsoft.com/office/drawing/2014/main" id="{34A59B7F-AA8B-4168-9634-0058962615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2559" y="2528489"/>
            <a:ext cx="1704881" cy="473411"/>
          </a:xfrm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7" name="Szöveg helye 26">
            <a:extLst>
              <a:ext uri="{FF2B5EF4-FFF2-40B4-BE49-F238E27FC236}">
                <a16:creationId xmlns:a16="http://schemas.microsoft.com/office/drawing/2014/main" id="{87AC5F4B-61AC-4A58-96FF-887DC65D68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25465" y="1947685"/>
            <a:ext cx="1701975" cy="473411"/>
          </a:xfrm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9" name="Szöveg helye 26">
            <a:extLst>
              <a:ext uri="{FF2B5EF4-FFF2-40B4-BE49-F238E27FC236}">
                <a16:creationId xmlns:a16="http://schemas.microsoft.com/office/drawing/2014/main" id="{DBF9075C-9E9E-495F-88C7-B9CB578845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29600" y="1394679"/>
            <a:ext cx="1697840" cy="473411"/>
          </a:xfrm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96690954-C90F-4D93-8FAB-4236E25C6E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29600" y="3630515"/>
            <a:ext cx="1697840" cy="473411"/>
          </a:xfrm>
        </p:spPr>
        <p:txBody>
          <a:bodyPr lIns="36000"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1" name="Szöveg helye 26">
            <a:extLst>
              <a:ext uri="{FF2B5EF4-FFF2-40B4-BE49-F238E27FC236}">
                <a16:creationId xmlns:a16="http://schemas.microsoft.com/office/drawing/2014/main" id="{0946F7C3-9B38-4160-BFF1-936EE3C29B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76213" y="3640726"/>
            <a:ext cx="5061110" cy="470371"/>
          </a:xfrm>
        </p:spPr>
        <p:txBody>
          <a:bodyPr lIns="108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2" name="Szöveg helye 26">
            <a:extLst>
              <a:ext uri="{FF2B5EF4-FFF2-40B4-BE49-F238E27FC236}">
                <a16:creationId xmlns:a16="http://schemas.microsoft.com/office/drawing/2014/main" id="{681ACDFA-ADD3-44F2-A405-DE45679147C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75001" y="1963033"/>
            <a:ext cx="5062280" cy="470371"/>
          </a:xfrm>
        </p:spPr>
        <p:txBody>
          <a:bodyPr lIns="108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37A7ED62-39CC-46D8-BEC9-98EB5A97B0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75000" y="1400762"/>
            <a:ext cx="5059104" cy="470371"/>
          </a:xfrm>
        </p:spPr>
        <p:txBody>
          <a:bodyPr lIns="108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3422461C-2676-4B19-AEE4-3AEF25427C6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76213" y="2528489"/>
            <a:ext cx="5061110" cy="470371"/>
          </a:xfrm>
        </p:spPr>
        <p:txBody>
          <a:bodyPr lIns="108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dolor</a:t>
            </a:r>
            <a:r>
              <a:rPr lang="hu-HU" dirty="0"/>
              <a:t> </a:t>
            </a:r>
            <a:r>
              <a:rPr lang="hu-HU" dirty="0" err="1"/>
              <a:t>sit</a:t>
            </a:r>
            <a:r>
              <a:rPr lang="hu-HU" dirty="0"/>
              <a:t> </a:t>
            </a:r>
            <a:r>
              <a:rPr lang="hu-HU" dirty="0" err="1"/>
              <a:t>amet</a:t>
            </a:r>
            <a:r>
              <a:rPr lang="hu-HU" dirty="0"/>
              <a:t>, </a:t>
            </a:r>
          </a:p>
        </p:txBody>
      </p:sp>
    </p:spTree>
    <p:extLst>
      <p:ext uri="{BB962C8B-B14F-4D97-AF65-F5344CB8AC3E}">
        <p14:creationId xmlns:p14="http://schemas.microsoft.com/office/powerpoint/2010/main" val="1904708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lic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yíl: ötszög 4">
            <a:extLst>
              <a:ext uri="{FF2B5EF4-FFF2-40B4-BE49-F238E27FC236}">
                <a16:creationId xmlns:a16="http://schemas.microsoft.com/office/drawing/2014/main" id="{C19031A4-1D51-4DB5-985D-D3CD49F82801}"/>
              </a:ext>
            </a:extLst>
          </p:cNvPr>
          <p:cNvSpPr/>
          <p:nvPr userDrawn="1"/>
        </p:nvSpPr>
        <p:spPr>
          <a:xfrm>
            <a:off x="377825" y="1226232"/>
            <a:ext cx="3831635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11" name="Nyíl: ötszög 10">
            <a:extLst>
              <a:ext uri="{FF2B5EF4-FFF2-40B4-BE49-F238E27FC236}">
                <a16:creationId xmlns:a16="http://schemas.microsoft.com/office/drawing/2014/main" id="{07F05531-7F8D-40E5-B7F5-BD7A46A502FE}"/>
              </a:ext>
            </a:extLst>
          </p:cNvPr>
          <p:cNvSpPr/>
          <p:nvPr userDrawn="1"/>
        </p:nvSpPr>
        <p:spPr>
          <a:xfrm>
            <a:off x="377824" y="3103372"/>
            <a:ext cx="3831635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Nyíl: ötszög 11">
            <a:extLst>
              <a:ext uri="{FF2B5EF4-FFF2-40B4-BE49-F238E27FC236}">
                <a16:creationId xmlns:a16="http://schemas.microsoft.com/office/drawing/2014/main" id="{8CA84D72-23B2-45DC-870A-C8562EFA8E5D}"/>
              </a:ext>
            </a:extLst>
          </p:cNvPr>
          <p:cNvSpPr/>
          <p:nvPr userDrawn="1"/>
        </p:nvSpPr>
        <p:spPr>
          <a:xfrm rot="10800000">
            <a:off x="4879188" y="1218924"/>
            <a:ext cx="383040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Nyíl: ötszög 12">
            <a:extLst>
              <a:ext uri="{FF2B5EF4-FFF2-40B4-BE49-F238E27FC236}">
                <a16:creationId xmlns:a16="http://schemas.microsoft.com/office/drawing/2014/main" id="{4BD16321-58A4-46B5-852E-E968A8BB1FF6}"/>
              </a:ext>
            </a:extLst>
          </p:cNvPr>
          <p:cNvSpPr/>
          <p:nvPr userDrawn="1"/>
        </p:nvSpPr>
        <p:spPr>
          <a:xfrm rot="10800000">
            <a:off x="4879188" y="3118656"/>
            <a:ext cx="383040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BBC767A-4A05-4181-90BF-25DF2D49C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6" y="1209799"/>
            <a:ext cx="2651125" cy="585873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5" name="Szöveg helye 13">
            <a:extLst>
              <a:ext uri="{FF2B5EF4-FFF2-40B4-BE49-F238E27FC236}">
                <a16:creationId xmlns:a16="http://schemas.microsoft.com/office/drawing/2014/main" id="{4ED28F89-DD0C-4B38-86F1-5D6258B605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402" y="1828538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CEF5D7DF-4145-404B-9C98-9EC777D1B4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72052" y="1231105"/>
            <a:ext cx="3517408" cy="57564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B23310A8-AD58-4A3B-BF8B-6603752A5F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2379" y="3142857"/>
            <a:ext cx="2651125" cy="517636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9" name="Szöveg helye 13">
            <a:extLst>
              <a:ext uri="{FF2B5EF4-FFF2-40B4-BE49-F238E27FC236}">
                <a16:creationId xmlns:a16="http://schemas.microsoft.com/office/drawing/2014/main" id="{9236B9B9-69CC-410B-9688-62917C390C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2181" y="3125965"/>
            <a:ext cx="3517407" cy="585873"/>
          </a:xfrm>
        </p:spPr>
        <p:txBody>
          <a:bodyPr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6" name="Szöveg helye 13">
            <a:extLst>
              <a:ext uri="{FF2B5EF4-FFF2-40B4-BE49-F238E27FC236}">
                <a16:creationId xmlns:a16="http://schemas.microsoft.com/office/drawing/2014/main" id="{56C99AC6-E88B-4BA2-8621-B040B42E0B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58463" y="1808700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7" name="Szöveg helye 13">
            <a:extLst>
              <a:ext uri="{FF2B5EF4-FFF2-40B4-BE49-F238E27FC236}">
                <a16:creationId xmlns:a16="http://schemas.microsoft.com/office/drawing/2014/main" id="{B1C317C2-17FC-4D48-B454-A1BEF24148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401" y="3678467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8" name="Szöveg helye 13">
            <a:extLst>
              <a:ext uri="{FF2B5EF4-FFF2-40B4-BE49-F238E27FC236}">
                <a16:creationId xmlns:a16="http://schemas.microsoft.com/office/drawing/2014/main" id="{8DEE3467-A50E-43C7-8A9D-BF062827D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2053" y="3678467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pic>
        <p:nvPicPr>
          <p:cNvPr id="20" name="Kép 19">
            <a:extLst>
              <a:ext uri="{FF2B5EF4-FFF2-40B4-BE49-F238E27FC236}">
                <a16:creationId xmlns:a16="http://schemas.microsoft.com/office/drawing/2014/main" id="{132E7378-C098-491D-8C17-6662C06F6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4324" y="1007706"/>
            <a:ext cx="1080000" cy="1080000"/>
          </a:xfrm>
          <a:prstGeom prst="rect">
            <a:avLst/>
          </a:prstGeom>
        </p:spPr>
      </p:pic>
      <p:pic>
        <p:nvPicPr>
          <p:cNvPr id="24" name="Kép 23">
            <a:extLst>
              <a:ext uri="{FF2B5EF4-FFF2-40B4-BE49-F238E27FC236}">
                <a16:creationId xmlns:a16="http://schemas.microsoft.com/office/drawing/2014/main" id="{B64632CD-EBA5-4AA2-8902-A3D537993B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28" y="3249198"/>
            <a:ext cx="491792" cy="339405"/>
          </a:xfrm>
          <a:prstGeom prst="rect">
            <a:avLst/>
          </a:prstGeom>
        </p:spPr>
      </p:pic>
      <p:sp>
        <p:nvSpPr>
          <p:cNvPr id="25" name="Titel 1">
            <a:extLst>
              <a:ext uri="{FF2B5EF4-FFF2-40B4-BE49-F238E27FC236}">
                <a16:creationId xmlns:a16="http://schemas.microsoft.com/office/drawing/2014/main" id="{BDBAF9B5-E0F6-4E39-9FF9-23D475BEA47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flict</a:t>
            </a:r>
            <a:endParaRPr lang="en-GB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BB2E8113-EF48-4B5F-B6A0-7139CE634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598483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lic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yíl: ötszög 4">
            <a:extLst>
              <a:ext uri="{FF2B5EF4-FFF2-40B4-BE49-F238E27FC236}">
                <a16:creationId xmlns:a16="http://schemas.microsoft.com/office/drawing/2014/main" id="{C19031A4-1D51-4DB5-985D-D3CD49F82801}"/>
              </a:ext>
            </a:extLst>
          </p:cNvPr>
          <p:cNvSpPr/>
          <p:nvPr userDrawn="1"/>
        </p:nvSpPr>
        <p:spPr>
          <a:xfrm>
            <a:off x="377825" y="1226232"/>
            <a:ext cx="3831635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/>
          </a:p>
        </p:txBody>
      </p:sp>
      <p:sp>
        <p:nvSpPr>
          <p:cNvPr id="11" name="Nyíl: ötszög 10">
            <a:extLst>
              <a:ext uri="{FF2B5EF4-FFF2-40B4-BE49-F238E27FC236}">
                <a16:creationId xmlns:a16="http://schemas.microsoft.com/office/drawing/2014/main" id="{07F05531-7F8D-40E5-B7F5-BD7A46A502FE}"/>
              </a:ext>
            </a:extLst>
          </p:cNvPr>
          <p:cNvSpPr/>
          <p:nvPr userDrawn="1"/>
        </p:nvSpPr>
        <p:spPr>
          <a:xfrm>
            <a:off x="377824" y="3103372"/>
            <a:ext cx="3831635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Nyíl: ötszög 11">
            <a:extLst>
              <a:ext uri="{FF2B5EF4-FFF2-40B4-BE49-F238E27FC236}">
                <a16:creationId xmlns:a16="http://schemas.microsoft.com/office/drawing/2014/main" id="{8CA84D72-23B2-45DC-870A-C8562EFA8E5D}"/>
              </a:ext>
            </a:extLst>
          </p:cNvPr>
          <p:cNvSpPr/>
          <p:nvPr userDrawn="1"/>
        </p:nvSpPr>
        <p:spPr>
          <a:xfrm rot="10800000">
            <a:off x="4879188" y="1218924"/>
            <a:ext cx="383040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Nyíl: ötszög 12">
            <a:extLst>
              <a:ext uri="{FF2B5EF4-FFF2-40B4-BE49-F238E27FC236}">
                <a16:creationId xmlns:a16="http://schemas.microsoft.com/office/drawing/2014/main" id="{4BD16321-58A4-46B5-852E-E968A8BB1FF6}"/>
              </a:ext>
            </a:extLst>
          </p:cNvPr>
          <p:cNvSpPr/>
          <p:nvPr userDrawn="1"/>
        </p:nvSpPr>
        <p:spPr>
          <a:xfrm rot="10800000">
            <a:off x="4879188" y="3118656"/>
            <a:ext cx="3830400" cy="585873"/>
          </a:xfrm>
          <a:prstGeom prst="homePlate">
            <a:avLst>
              <a:gd name="adj" fmla="val 3037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BBC767A-4A05-4181-90BF-25DF2D49C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6" y="1209799"/>
            <a:ext cx="2651125" cy="585873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5" name="Szöveg helye 13">
            <a:extLst>
              <a:ext uri="{FF2B5EF4-FFF2-40B4-BE49-F238E27FC236}">
                <a16:creationId xmlns:a16="http://schemas.microsoft.com/office/drawing/2014/main" id="{4ED28F89-DD0C-4B38-86F1-5D6258B605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402" y="1828538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CEF5D7DF-4145-404B-9C98-9EC777D1B4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2180" y="1218923"/>
            <a:ext cx="3517408" cy="57564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8" name="Szöveg helye 13">
            <a:extLst>
              <a:ext uri="{FF2B5EF4-FFF2-40B4-BE49-F238E27FC236}">
                <a16:creationId xmlns:a16="http://schemas.microsoft.com/office/drawing/2014/main" id="{B23310A8-AD58-4A3B-BF8B-6603752A5F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2379" y="3142857"/>
            <a:ext cx="2651125" cy="517636"/>
          </a:xfrm>
        </p:spPr>
        <p:txBody>
          <a:bodyPr lIns="180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9" name="Szöveg helye 13">
            <a:extLst>
              <a:ext uri="{FF2B5EF4-FFF2-40B4-BE49-F238E27FC236}">
                <a16:creationId xmlns:a16="http://schemas.microsoft.com/office/drawing/2014/main" id="{9236B9B9-69CC-410B-9688-62917C390C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2181" y="3125965"/>
            <a:ext cx="3517407" cy="585873"/>
          </a:xfrm>
        </p:spPr>
        <p:txBody>
          <a:bodyPr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26" name="Szöveg helye 13">
            <a:extLst>
              <a:ext uri="{FF2B5EF4-FFF2-40B4-BE49-F238E27FC236}">
                <a16:creationId xmlns:a16="http://schemas.microsoft.com/office/drawing/2014/main" id="{56C99AC6-E88B-4BA2-8621-B040B42E0B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58463" y="1808700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7" name="Szöveg helye 13">
            <a:extLst>
              <a:ext uri="{FF2B5EF4-FFF2-40B4-BE49-F238E27FC236}">
                <a16:creationId xmlns:a16="http://schemas.microsoft.com/office/drawing/2014/main" id="{B1C317C2-17FC-4D48-B454-A1BEF24148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401" y="3678467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sp>
        <p:nvSpPr>
          <p:cNvPr id="28" name="Szöveg helye 13">
            <a:extLst>
              <a:ext uri="{FF2B5EF4-FFF2-40B4-BE49-F238E27FC236}">
                <a16:creationId xmlns:a16="http://schemas.microsoft.com/office/drawing/2014/main" id="{8DEE3467-A50E-43C7-8A9D-BF062827D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2053" y="3678467"/>
            <a:ext cx="2651125" cy="1300060"/>
          </a:xfrm>
        </p:spPr>
        <p:txBody>
          <a:bodyPr tIns="180000"/>
          <a:lstStyle>
            <a:lvl1pPr marL="285750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idundae</a:t>
            </a:r>
            <a:endParaRPr lang="hu-HU" dirty="0"/>
          </a:p>
          <a:p>
            <a:pPr lvl="2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delleni</a:t>
            </a:r>
            <a:endParaRPr lang="hu-HU" dirty="0"/>
          </a:p>
          <a:p>
            <a:pPr lvl="3"/>
            <a:r>
              <a:rPr lang="hu-HU" dirty="0" err="1"/>
              <a:t>Level</a:t>
            </a:r>
            <a:r>
              <a:rPr lang="hu-HU" dirty="0"/>
              <a:t> 3 </a:t>
            </a:r>
            <a:r>
              <a:rPr lang="hu-HU" dirty="0" err="1"/>
              <a:t>conecusa</a:t>
            </a:r>
            <a:endParaRPr lang="hu-HU" dirty="0"/>
          </a:p>
          <a:p>
            <a:pPr lvl="4"/>
            <a:r>
              <a:rPr lang="hu-HU" dirty="0" err="1"/>
              <a:t>Level</a:t>
            </a:r>
            <a:r>
              <a:rPr lang="hu-HU" dirty="0"/>
              <a:t> 4 bit </a:t>
            </a:r>
            <a:r>
              <a:rPr lang="hu-HU" dirty="0" err="1"/>
              <a:t>alicient</a:t>
            </a:r>
            <a:endParaRPr lang="hu-HU" dirty="0"/>
          </a:p>
        </p:txBody>
      </p:sp>
      <p:pic>
        <p:nvPicPr>
          <p:cNvPr id="23" name="Kép 22">
            <a:extLst>
              <a:ext uri="{FF2B5EF4-FFF2-40B4-BE49-F238E27FC236}">
                <a16:creationId xmlns:a16="http://schemas.microsoft.com/office/drawing/2014/main" id="{623A46F0-D84B-439D-8594-EEB190D58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813" y="3203578"/>
            <a:ext cx="491792" cy="339405"/>
          </a:xfrm>
          <a:prstGeom prst="rect">
            <a:avLst/>
          </a:prstGeom>
        </p:spPr>
      </p:pic>
      <p:pic>
        <p:nvPicPr>
          <p:cNvPr id="24" name="Kép 23">
            <a:extLst>
              <a:ext uri="{FF2B5EF4-FFF2-40B4-BE49-F238E27FC236}">
                <a16:creationId xmlns:a16="http://schemas.microsoft.com/office/drawing/2014/main" id="{62D67D29-4BA3-452F-960F-7827041E5C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4041" y="1218923"/>
            <a:ext cx="469969" cy="569386"/>
          </a:xfrm>
          <a:prstGeom prst="rect">
            <a:avLst/>
          </a:prstGeom>
        </p:spPr>
      </p:pic>
      <p:sp>
        <p:nvSpPr>
          <p:cNvPr id="25" name="Titel 1">
            <a:extLst>
              <a:ext uri="{FF2B5EF4-FFF2-40B4-BE49-F238E27FC236}">
                <a16:creationId xmlns:a16="http://schemas.microsoft.com/office/drawing/2014/main" id="{A72E2927-1ECB-4B1F-8572-2F318D8B936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Conflict</a:t>
            </a:r>
            <a:endParaRPr lang="en-GB" dirty="0"/>
          </a:p>
        </p:txBody>
      </p: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50DCBB8E-5DCE-40DF-AAD3-99CD6AC89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256008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-up/Top-down,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>
            <a:extLst>
              <a:ext uri="{FF2B5EF4-FFF2-40B4-BE49-F238E27FC236}">
                <a16:creationId xmlns:a16="http://schemas.microsoft.com/office/drawing/2014/main" id="{795D3452-3887-47D2-A57E-0E3FE149EA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7553" y="1763864"/>
            <a:ext cx="2081212" cy="2184400"/>
          </a:xfrm>
        </p:spPr>
        <p:txBody>
          <a:bodyPr lIns="180000"/>
          <a:lstStyle>
            <a:lvl1pPr marL="0" indent="87313"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rgbClr val="EA1C0A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EA1C0A"/>
              </a:buClr>
              <a:defRPr sz="1600"/>
            </a:lvl2pPr>
            <a:lvl3pPr marL="465137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7683AF9B-3E67-4E40-ADCA-A632397FBC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91677" y="1678001"/>
            <a:ext cx="2081212" cy="2184400"/>
          </a:xfrm>
        </p:spPr>
        <p:txBody>
          <a:bodyPr lIns="180000"/>
          <a:lstStyle>
            <a:lvl1pPr marL="0" indent="87313"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rgbClr val="EA1C0A"/>
                </a:solidFill>
                <a:latin typeface="+mj-lt"/>
              </a:defRPr>
            </a:lvl1pPr>
            <a:lvl2pPr marL="285751" indent="-28575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600"/>
            </a:lvl2pPr>
            <a:lvl3pPr marL="465137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pic>
        <p:nvPicPr>
          <p:cNvPr id="10" name="Kép 9">
            <a:extLst>
              <a:ext uri="{FF2B5EF4-FFF2-40B4-BE49-F238E27FC236}">
                <a16:creationId xmlns:a16="http://schemas.microsoft.com/office/drawing/2014/main" id="{9BA7E154-CBDF-4D96-9307-E6558CD213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44142" y="1341050"/>
            <a:ext cx="410753" cy="410753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4D278F51-1CD7-42BC-896C-F235A9361A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36743" y="1270589"/>
            <a:ext cx="410400" cy="410400"/>
          </a:xfrm>
          <a:prstGeom prst="rect">
            <a:avLst/>
          </a:prstGeom>
        </p:spPr>
      </p:pic>
      <p:sp>
        <p:nvSpPr>
          <p:cNvPr id="5" name="Háromszög 4">
            <a:extLst>
              <a:ext uri="{FF2B5EF4-FFF2-40B4-BE49-F238E27FC236}">
                <a16:creationId xmlns:a16="http://schemas.microsoft.com/office/drawing/2014/main" id="{4A68EA63-2EDE-4BB3-B80C-0BB2780130F9}"/>
              </a:ext>
            </a:extLst>
          </p:cNvPr>
          <p:cNvSpPr/>
          <p:nvPr userDrawn="1"/>
        </p:nvSpPr>
        <p:spPr>
          <a:xfrm>
            <a:off x="3487869" y="2217272"/>
            <a:ext cx="2184704" cy="1951430"/>
          </a:xfrm>
          <a:prstGeom prst="triangle">
            <a:avLst>
              <a:gd name="adj" fmla="val 5075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7F85ABD-383E-4376-9798-E68544ECEE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5871" y="3369285"/>
            <a:ext cx="1028700" cy="6604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ocess</a:t>
            </a:r>
            <a:endParaRPr lang="hu-HU" dirty="0"/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C951A36-CE92-4D43-B787-B6C8AA4400C0}"/>
              </a:ext>
            </a:extLst>
          </p:cNvPr>
          <p:cNvCxnSpPr>
            <a:cxnSpLocks/>
          </p:cNvCxnSpPr>
          <p:nvPr userDrawn="1"/>
        </p:nvCxnSpPr>
        <p:spPr>
          <a:xfrm>
            <a:off x="1101909" y="4174679"/>
            <a:ext cx="2259045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Egyenes összekötő 15">
            <a:extLst>
              <a:ext uri="{FF2B5EF4-FFF2-40B4-BE49-F238E27FC236}">
                <a16:creationId xmlns:a16="http://schemas.microsoft.com/office/drawing/2014/main" id="{88C605A3-37CF-4D1B-B125-94A693E57F79}"/>
              </a:ext>
            </a:extLst>
          </p:cNvPr>
          <p:cNvCxnSpPr/>
          <p:nvPr userDrawn="1"/>
        </p:nvCxnSpPr>
        <p:spPr>
          <a:xfrm>
            <a:off x="5808415" y="4168702"/>
            <a:ext cx="2277457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Egyenes összekötő nyíllal 16">
            <a:extLst>
              <a:ext uri="{FF2B5EF4-FFF2-40B4-BE49-F238E27FC236}">
                <a16:creationId xmlns:a16="http://schemas.microsoft.com/office/drawing/2014/main" id="{D386D60E-227E-41CC-B23E-1A279D6BC620}"/>
              </a:ext>
            </a:extLst>
          </p:cNvPr>
          <p:cNvCxnSpPr>
            <a:cxnSpLocks/>
          </p:cNvCxnSpPr>
          <p:nvPr userDrawn="1"/>
        </p:nvCxnSpPr>
        <p:spPr>
          <a:xfrm flipV="1">
            <a:off x="3343026" y="2223248"/>
            <a:ext cx="1118374" cy="1951431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nyíllal 21">
            <a:extLst>
              <a:ext uri="{FF2B5EF4-FFF2-40B4-BE49-F238E27FC236}">
                <a16:creationId xmlns:a16="http://schemas.microsoft.com/office/drawing/2014/main" id="{9EFEC7F4-40EC-4373-95E5-A58F4E133DD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4737221" y="2223248"/>
            <a:ext cx="1080195" cy="1951431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itel 1">
            <a:extLst>
              <a:ext uri="{FF2B5EF4-FFF2-40B4-BE49-F238E27FC236}">
                <a16:creationId xmlns:a16="http://schemas.microsoft.com/office/drawing/2014/main" id="{4234D7F9-0BC6-40A3-B029-ED86965C82B2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Bottom</a:t>
            </a:r>
            <a:r>
              <a:rPr lang="hu-HU" dirty="0"/>
              <a:t> – </a:t>
            </a:r>
            <a:r>
              <a:rPr lang="hu-HU" dirty="0" err="1"/>
              <a:t>up</a:t>
            </a:r>
            <a:r>
              <a:rPr lang="hu-HU" dirty="0"/>
              <a:t>/</a:t>
            </a:r>
            <a:br>
              <a:rPr lang="hu-HU" dirty="0"/>
            </a:br>
            <a:r>
              <a:rPr lang="hu-HU" dirty="0"/>
              <a:t>Top – down, </a:t>
            </a:r>
            <a:r>
              <a:rPr lang="hu-HU" dirty="0" err="1"/>
              <a:t>Process</a:t>
            </a:r>
            <a:endParaRPr lang="en-GB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1FC8B381-9AFD-4AF0-AFF1-23D26631A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D24564F2-FA3B-46A2-918C-F8F109635D8F}"/>
              </a:ext>
            </a:extLst>
          </p:cNvPr>
          <p:cNvSpPr txBox="1">
            <a:spLocks/>
          </p:cNvSpPr>
          <p:nvPr userDrawn="1"/>
        </p:nvSpPr>
        <p:spPr>
          <a:xfrm>
            <a:off x="387553" y="1341050"/>
            <a:ext cx="2081212" cy="430716"/>
          </a:xfrm>
          <a:prstGeom prst="rect">
            <a:avLst/>
          </a:prstGeom>
          <a:ln>
            <a:noFill/>
          </a:ln>
        </p:spPr>
        <p:txBody>
          <a:bodyPr vert="horz" lIns="21600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400" dirty="0" err="1">
                <a:solidFill>
                  <a:srgbClr val="EA1C0A"/>
                </a:solidFill>
              </a:rPr>
              <a:t>Bottom</a:t>
            </a:r>
            <a:r>
              <a:rPr lang="hu-HU" sz="1400" dirty="0">
                <a:solidFill>
                  <a:srgbClr val="EA1C0A"/>
                </a:solidFill>
              </a:rPr>
              <a:t> - </a:t>
            </a:r>
            <a:r>
              <a:rPr lang="hu-HU" sz="1400" dirty="0" err="1">
                <a:solidFill>
                  <a:srgbClr val="EA1C0A"/>
                </a:solidFill>
              </a:rPr>
              <a:t>up</a:t>
            </a:r>
            <a:endParaRPr lang="hu-HU" sz="1400" dirty="0">
              <a:solidFill>
                <a:srgbClr val="EA1C0A"/>
              </a:solidFill>
            </a:endParaRPr>
          </a:p>
        </p:txBody>
      </p:sp>
      <p:sp>
        <p:nvSpPr>
          <p:cNvPr id="23" name="Fußzeilenplatzhalter 6">
            <a:extLst>
              <a:ext uri="{FF2B5EF4-FFF2-40B4-BE49-F238E27FC236}">
                <a16:creationId xmlns:a16="http://schemas.microsoft.com/office/drawing/2014/main" id="{F1810814-6521-4E5E-B13D-5F02C671668B}"/>
              </a:ext>
            </a:extLst>
          </p:cNvPr>
          <p:cNvSpPr txBox="1">
            <a:spLocks/>
          </p:cNvSpPr>
          <p:nvPr userDrawn="1"/>
        </p:nvSpPr>
        <p:spPr>
          <a:xfrm>
            <a:off x="6691677" y="1247285"/>
            <a:ext cx="2081212" cy="430716"/>
          </a:xfrm>
          <a:prstGeom prst="rect">
            <a:avLst/>
          </a:prstGeom>
          <a:ln>
            <a:noFill/>
          </a:ln>
        </p:spPr>
        <p:txBody>
          <a:bodyPr vert="horz" lIns="21600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400" dirty="0">
                <a:solidFill>
                  <a:srgbClr val="EA1C0A"/>
                </a:solidFill>
              </a:rPr>
              <a:t>Top - down</a:t>
            </a:r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B5719B25-C7E6-4EF6-9368-C878E08565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DA7B430B-A724-4CE0-8DED-860044AB632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5" name="Dia számának helye 4">
            <a:extLst>
              <a:ext uri="{FF2B5EF4-FFF2-40B4-BE49-F238E27FC236}">
                <a16:creationId xmlns:a16="http://schemas.microsoft.com/office/drawing/2014/main" id="{3FCEE3FD-D0DB-4004-B419-7C9B8B865A8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01204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-up/Top-down, Proces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Háromszög 18">
            <a:extLst>
              <a:ext uri="{FF2B5EF4-FFF2-40B4-BE49-F238E27FC236}">
                <a16:creationId xmlns:a16="http://schemas.microsoft.com/office/drawing/2014/main" id="{3A31210E-2097-4883-94F2-D72F7DDA520D}"/>
              </a:ext>
            </a:extLst>
          </p:cNvPr>
          <p:cNvSpPr/>
          <p:nvPr userDrawn="1"/>
        </p:nvSpPr>
        <p:spPr>
          <a:xfrm>
            <a:off x="3487869" y="2217272"/>
            <a:ext cx="2184704" cy="1951430"/>
          </a:xfrm>
          <a:prstGeom prst="triangle">
            <a:avLst>
              <a:gd name="adj" fmla="val 5075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0" name="Egyenes összekötő 19">
            <a:extLst>
              <a:ext uri="{FF2B5EF4-FFF2-40B4-BE49-F238E27FC236}">
                <a16:creationId xmlns:a16="http://schemas.microsoft.com/office/drawing/2014/main" id="{F92A0816-5AC9-4706-8B7B-2F8CCEB58B2B}"/>
              </a:ext>
            </a:extLst>
          </p:cNvPr>
          <p:cNvCxnSpPr>
            <a:cxnSpLocks/>
          </p:cNvCxnSpPr>
          <p:nvPr userDrawn="1"/>
        </p:nvCxnSpPr>
        <p:spPr>
          <a:xfrm>
            <a:off x="1101909" y="4174679"/>
            <a:ext cx="2259045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DFE73CD5-F9D7-4EAB-B345-3BE13DDA0D58}"/>
              </a:ext>
            </a:extLst>
          </p:cNvPr>
          <p:cNvCxnSpPr/>
          <p:nvPr userDrawn="1"/>
        </p:nvCxnSpPr>
        <p:spPr>
          <a:xfrm>
            <a:off x="5808415" y="4168702"/>
            <a:ext cx="2277457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nyíllal 21">
            <a:extLst>
              <a:ext uri="{FF2B5EF4-FFF2-40B4-BE49-F238E27FC236}">
                <a16:creationId xmlns:a16="http://schemas.microsoft.com/office/drawing/2014/main" id="{736F64E1-418F-44AA-9D00-9A8E4E773089}"/>
              </a:ext>
            </a:extLst>
          </p:cNvPr>
          <p:cNvCxnSpPr>
            <a:cxnSpLocks/>
          </p:cNvCxnSpPr>
          <p:nvPr userDrawn="1"/>
        </p:nvCxnSpPr>
        <p:spPr>
          <a:xfrm flipV="1">
            <a:off x="3343026" y="2223248"/>
            <a:ext cx="1118374" cy="1951431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Egyenes összekötő nyíllal 22">
            <a:extLst>
              <a:ext uri="{FF2B5EF4-FFF2-40B4-BE49-F238E27FC236}">
                <a16:creationId xmlns:a16="http://schemas.microsoft.com/office/drawing/2014/main" id="{BB6903EC-D8CF-4912-81D0-EE31760549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4737221" y="2223248"/>
            <a:ext cx="1080195" cy="1951431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Szöveg helye 3">
            <a:extLst>
              <a:ext uri="{FF2B5EF4-FFF2-40B4-BE49-F238E27FC236}">
                <a16:creationId xmlns:a16="http://schemas.microsoft.com/office/drawing/2014/main" id="{795D3452-3887-47D2-A57E-0E3FE149EA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1593850"/>
            <a:ext cx="2081212" cy="2184400"/>
          </a:xfrm>
        </p:spPr>
        <p:txBody>
          <a:bodyPr lIns="180000"/>
          <a:lstStyle>
            <a:lvl1pPr marL="0" indent="87313"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rgbClr val="EA1C0A"/>
                </a:solidFill>
                <a:latin typeface="+mj-lt"/>
              </a:defRPr>
            </a:lvl1pPr>
            <a:lvl2pPr>
              <a:spcAft>
                <a:spcPts val="0"/>
              </a:spcAft>
              <a:defRPr sz="1600"/>
            </a:lvl2pPr>
            <a:lvl3pPr marL="465137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9" name="Szöveg helye 3">
            <a:extLst>
              <a:ext uri="{FF2B5EF4-FFF2-40B4-BE49-F238E27FC236}">
                <a16:creationId xmlns:a16="http://schemas.microsoft.com/office/drawing/2014/main" id="{7683AF9B-3E67-4E40-ADCA-A632397FBC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1231" y="1593850"/>
            <a:ext cx="2081212" cy="2184400"/>
          </a:xfrm>
        </p:spPr>
        <p:txBody>
          <a:bodyPr lIns="180000"/>
          <a:lstStyle>
            <a:lvl1pPr marL="0" indent="87313"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rgbClr val="EA1C0A"/>
                </a:solidFill>
                <a:latin typeface="+mj-lt"/>
              </a:defRPr>
            </a:lvl1pPr>
            <a:lvl2pPr>
              <a:spcAft>
                <a:spcPts val="0"/>
              </a:spcAft>
              <a:defRPr sz="1600"/>
            </a:lvl2pPr>
            <a:lvl3pPr marL="465137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</a:lstStyle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14" name="Szöveg helye 13">
            <a:extLst>
              <a:ext uri="{FF2B5EF4-FFF2-40B4-BE49-F238E27FC236}">
                <a16:creationId xmlns:a16="http://schemas.microsoft.com/office/drawing/2014/main" id="{D7F85ABD-383E-4376-9798-E68544ECEE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5871" y="3369285"/>
            <a:ext cx="1028700" cy="6604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ocess</a:t>
            </a:r>
            <a:endParaRPr lang="hu-HU" dirty="0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D340E30E-2185-411D-ABF7-0FFF0F8B4B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51454" y="4358297"/>
            <a:ext cx="1600200" cy="377825"/>
          </a:xfrm>
        </p:spPr>
        <p:txBody>
          <a:bodyPr anchor="ctr"/>
          <a:lstStyle>
            <a:lvl1pPr>
              <a:defRPr sz="18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op-down</a:t>
            </a:r>
          </a:p>
        </p:txBody>
      </p:sp>
      <p:sp>
        <p:nvSpPr>
          <p:cNvPr id="16" name="Szöveg helye 5">
            <a:extLst>
              <a:ext uri="{FF2B5EF4-FFF2-40B4-BE49-F238E27FC236}">
                <a16:creationId xmlns:a16="http://schemas.microsoft.com/office/drawing/2014/main" id="{BB9B8890-E3EE-4292-979A-FB8686E91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95354" y="4358297"/>
            <a:ext cx="1600200" cy="377825"/>
          </a:xfrm>
        </p:spPr>
        <p:txBody>
          <a:bodyPr anchor="ctr"/>
          <a:lstStyle>
            <a:lvl1pPr algn="r">
              <a:defRPr sz="18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Bottom-up</a:t>
            </a:r>
            <a:endParaRPr lang="hu-HU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43B7E31E-75C1-4E7F-BF80-046D9FC325D0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Bottom</a:t>
            </a:r>
            <a:r>
              <a:rPr lang="hu-HU" dirty="0"/>
              <a:t> – </a:t>
            </a:r>
            <a:r>
              <a:rPr lang="hu-HU" dirty="0" err="1"/>
              <a:t>up</a:t>
            </a:r>
            <a:r>
              <a:rPr lang="hu-HU" dirty="0"/>
              <a:t>/</a:t>
            </a:r>
            <a:br>
              <a:rPr lang="hu-HU" dirty="0"/>
            </a:br>
            <a:r>
              <a:rPr lang="hu-HU" dirty="0"/>
              <a:t>Top – down, </a:t>
            </a:r>
            <a:r>
              <a:rPr lang="hu-HU" dirty="0" err="1"/>
              <a:t>Process</a:t>
            </a:r>
            <a:endParaRPr lang="en-GB" dirty="0"/>
          </a:p>
        </p:txBody>
      </p:sp>
      <p:sp>
        <p:nvSpPr>
          <p:cNvPr id="27" name="Fußzeilenplatzhalter 6">
            <a:extLst>
              <a:ext uri="{FF2B5EF4-FFF2-40B4-BE49-F238E27FC236}">
                <a16:creationId xmlns:a16="http://schemas.microsoft.com/office/drawing/2014/main" id="{39A654C5-2CA1-468F-A30E-B2A9979D4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4CAB90E7-BCBC-4585-AF82-B2EB193245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BC0AE5CE-8F2A-4124-A905-8D0ACBDDD826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5" name="Dia számának helye 4">
            <a:extLst>
              <a:ext uri="{FF2B5EF4-FFF2-40B4-BE49-F238E27FC236}">
                <a16:creationId xmlns:a16="http://schemas.microsoft.com/office/drawing/2014/main" id="{223D77CF-11CF-4F36-85B5-6CE1EEDD713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51630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tac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églalap 4">
            <a:extLst>
              <a:ext uri="{FF2B5EF4-FFF2-40B4-BE49-F238E27FC236}">
                <a16:creationId xmlns:a16="http://schemas.microsoft.com/office/drawing/2014/main" id="{2457AB41-3FBD-4CED-9879-9DF34AC1DAB9}"/>
              </a:ext>
            </a:extLst>
          </p:cNvPr>
          <p:cNvSpPr/>
          <p:nvPr userDrawn="1"/>
        </p:nvSpPr>
        <p:spPr>
          <a:xfrm>
            <a:off x="1487523" y="1700141"/>
            <a:ext cx="408953" cy="2011459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4A20DFAC-93FB-4714-990B-643F6815E4CC}"/>
              </a:ext>
            </a:extLst>
          </p:cNvPr>
          <p:cNvSpPr/>
          <p:nvPr userDrawn="1"/>
        </p:nvSpPr>
        <p:spPr>
          <a:xfrm>
            <a:off x="4367523" y="1700141"/>
            <a:ext cx="408953" cy="2011459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églalap 12">
            <a:extLst>
              <a:ext uri="{FF2B5EF4-FFF2-40B4-BE49-F238E27FC236}">
                <a16:creationId xmlns:a16="http://schemas.microsoft.com/office/drawing/2014/main" id="{51E7597B-5A4D-40BE-8748-FEA60C01BF81}"/>
              </a:ext>
            </a:extLst>
          </p:cNvPr>
          <p:cNvSpPr/>
          <p:nvPr userDrawn="1"/>
        </p:nvSpPr>
        <p:spPr>
          <a:xfrm>
            <a:off x="7251123" y="1700141"/>
            <a:ext cx="408953" cy="2011459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4" name="Kép 13">
            <a:extLst>
              <a:ext uri="{FF2B5EF4-FFF2-40B4-BE49-F238E27FC236}">
                <a16:creationId xmlns:a16="http://schemas.microsoft.com/office/drawing/2014/main" id="{A664A179-8434-48FA-8177-244051B16C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3800" y="1625870"/>
            <a:ext cx="2160000" cy="2160000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AD7E944D-9604-4192-A24A-CBF94EE70B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076" y="1625870"/>
            <a:ext cx="2160000" cy="2160000"/>
          </a:xfrm>
          <a:prstGeom prst="rect">
            <a:avLst/>
          </a:prstGeom>
        </p:spPr>
      </p:pic>
      <p:cxnSp>
        <p:nvCxnSpPr>
          <p:cNvPr id="16" name="Egyenes összekötő 15">
            <a:extLst>
              <a:ext uri="{FF2B5EF4-FFF2-40B4-BE49-F238E27FC236}">
                <a16:creationId xmlns:a16="http://schemas.microsoft.com/office/drawing/2014/main" id="{6607DA12-1881-4E49-8654-6BE43FF005DA}"/>
              </a:ext>
            </a:extLst>
          </p:cNvPr>
          <p:cNvCxnSpPr>
            <a:cxnSpLocks/>
          </p:cNvCxnSpPr>
          <p:nvPr userDrawn="1"/>
        </p:nvCxnSpPr>
        <p:spPr>
          <a:xfrm>
            <a:off x="582705" y="2746303"/>
            <a:ext cx="755213" cy="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Egyenes összekötő 17">
            <a:extLst>
              <a:ext uri="{FF2B5EF4-FFF2-40B4-BE49-F238E27FC236}">
                <a16:creationId xmlns:a16="http://schemas.microsoft.com/office/drawing/2014/main" id="{E39AFFF1-CE3F-43B5-A9D1-7A3C1C05CA47}"/>
              </a:ext>
            </a:extLst>
          </p:cNvPr>
          <p:cNvCxnSpPr>
            <a:cxnSpLocks/>
          </p:cNvCxnSpPr>
          <p:nvPr userDrawn="1"/>
        </p:nvCxnSpPr>
        <p:spPr>
          <a:xfrm flipV="1">
            <a:off x="1337918" y="2728376"/>
            <a:ext cx="0" cy="1135190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Egyenes összekötő 19">
            <a:extLst>
              <a:ext uri="{FF2B5EF4-FFF2-40B4-BE49-F238E27FC236}">
                <a16:creationId xmlns:a16="http://schemas.microsoft.com/office/drawing/2014/main" id="{7285BCA0-6A4A-4AF4-BD9F-B366565C4DCD}"/>
              </a:ext>
            </a:extLst>
          </p:cNvPr>
          <p:cNvCxnSpPr>
            <a:cxnSpLocks/>
          </p:cNvCxnSpPr>
          <p:nvPr userDrawn="1"/>
        </p:nvCxnSpPr>
        <p:spPr>
          <a:xfrm flipV="1">
            <a:off x="1337918" y="1571589"/>
            <a:ext cx="0" cy="1174715"/>
          </a:xfrm>
          <a:prstGeom prst="line">
            <a:avLst/>
          </a:prstGeom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nyíllal 21">
            <a:extLst>
              <a:ext uri="{FF2B5EF4-FFF2-40B4-BE49-F238E27FC236}">
                <a16:creationId xmlns:a16="http://schemas.microsoft.com/office/drawing/2014/main" id="{A55AB878-E18B-4657-8C7A-795254472FCE}"/>
              </a:ext>
            </a:extLst>
          </p:cNvPr>
          <p:cNvCxnSpPr>
            <a:cxnSpLocks/>
          </p:cNvCxnSpPr>
          <p:nvPr userDrawn="1"/>
        </p:nvCxnSpPr>
        <p:spPr>
          <a:xfrm>
            <a:off x="1323592" y="3863566"/>
            <a:ext cx="642667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Egyenes összekötő nyíllal 26">
            <a:extLst>
              <a:ext uri="{FF2B5EF4-FFF2-40B4-BE49-F238E27FC236}">
                <a16:creationId xmlns:a16="http://schemas.microsoft.com/office/drawing/2014/main" id="{87430FDF-51A0-4687-A1D1-4285615A391D}"/>
              </a:ext>
            </a:extLst>
          </p:cNvPr>
          <p:cNvCxnSpPr>
            <a:cxnSpLocks/>
          </p:cNvCxnSpPr>
          <p:nvPr userDrawn="1"/>
        </p:nvCxnSpPr>
        <p:spPr>
          <a:xfrm>
            <a:off x="1323591" y="1571589"/>
            <a:ext cx="642667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20A4FF7E-2DEB-4737-97CD-E4C7BF71756D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Obstacle</a:t>
            </a:r>
            <a:endParaRPr lang="en-GB" dirty="0"/>
          </a:p>
        </p:txBody>
      </p:sp>
      <p:sp>
        <p:nvSpPr>
          <p:cNvPr id="24" name="Fußzeilenplatzhalter 6">
            <a:extLst>
              <a:ext uri="{FF2B5EF4-FFF2-40B4-BE49-F238E27FC236}">
                <a16:creationId xmlns:a16="http://schemas.microsoft.com/office/drawing/2014/main" id="{7C101AE2-4BBD-4B41-8F36-3D126A0D8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A8F14B9C-545C-49C9-9EEE-1215FD654D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B14667AF-54C9-4B58-953B-7431D5F43E2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5" name="Dia számának helye 4">
            <a:extLst>
              <a:ext uri="{FF2B5EF4-FFF2-40B4-BE49-F238E27FC236}">
                <a16:creationId xmlns:a16="http://schemas.microsoft.com/office/drawing/2014/main" id="{4A083F1D-BB3E-4461-B758-E84134FE9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57723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C7A12D3-BF9D-41B5-88FE-5F7C949161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Table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D1F1DB2B-6C9B-4116-B2E9-038F0FA3C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B6E-1964-4119-A6AA-85745FB75D95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36141D05-7678-474D-92EC-5D35DFA0C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1A99D635-9651-4903-A1E7-67BB6386F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9">
            <a:extLst>
              <a:ext uri="{FF2B5EF4-FFF2-40B4-BE49-F238E27FC236}">
                <a16:creationId xmlns:a16="http://schemas.microsoft.com/office/drawing/2014/main" id="{53F974D9-1B58-4F95-9F21-9DF5FA46B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9106" y="1319186"/>
            <a:ext cx="1656001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Dolorem</a:t>
            </a:r>
            <a:endParaRPr lang="hu-HU" dirty="0"/>
          </a:p>
        </p:txBody>
      </p:sp>
      <p:sp>
        <p:nvSpPr>
          <p:cNvPr id="7" name="Szöveg helye 9">
            <a:extLst>
              <a:ext uri="{FF2B5EF4-FFF2-40B4-BE49-F238E27FC236}">
                <a16:creationId xmlns:a16="http://schemas.microsoft.com/office/drawing/2014/main" id="{FFF0DDAE-C3BD-409F-8F1A-522E29D07D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0215" y="1848830"/>
            <a:ext cx="1423988" cy="754948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8" name="Szöveg helye 9">
            <a:extLst>
              <a:ext uri="{FF2B5EF4-FFF2-40B4-BE49-F238E27FC236}">
                <a16:creationId xmlns:a16="http://schemas.microsoft.com/office/drawing/2014/main" id="{B4864758-A545-43A7-B5F8-65F5AEDD1F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8897" y="1851521"/>
            <a:ext cx="1650333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9" name="Szöveg helye 9">
            <a:extLst>
              <a:ext uri="{FF2B5EF4-FFF2-40B4-BE49-F238E27FC236}">
                <a16:creationId xmlns:a16="http://schemas.microsoft.com/office/drawing/2014/main" id="{A9A512A3-7072-4CB1-883E-ADFFCC435A6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48896" y="1323491"/>
            <a:ext cx="1650995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0" name="Szöveg helye 9">
            <a:extLst>
              <a:ext uri="{FF2B5EF4-FFF2-40B4-BE49-F238E27FC236}">
                <a16:creationId xmlns:a16="http://schemas.microsoft.com/office/drawing/2014/main" id="{1C81EB01-BE9C-4119-9FCF-5DF46BC210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679501" y="1324471"/>
            <a:ext cx="1682282" cy="527050"/>
          </a:xfrm>
          <a:solidFill>
            <a:srgbClr val="EA1C0A"/>
          </a:solidFill>
        </p:spPr>
        <p:txBody>
          <a:bodyPr anchor="ctr"/>
          <a:lstStyle>
            <a:lvl1pPr marL="0" indent="87313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ipsu</a:t>
            </a:r>
            <a:r>
              <a:rPr lang="hu-HU" dirty="0"/>
              <a:t> </a:t>
            </a:r>
          </a:p>
        </p:txBody>
      </p:sp>
      <p:sp>
        <p:nvSpPr>
          <p:cNvPr id="11" name="Szöveg helye 9">
            <a:extLst>
              <a:ext uri="{FF2B5EF4-FFF2-40B4-BE49-F238E27FC236}">
                <a16:creationId xmlns:a16="http://schemas.microsoft.com/office/drawing/2014/main" id="{118BF452-BC42-4AEB-83E6-D7FA5341929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80215" y="2630500"/>
            <a:ext cx="1423988" cy="754948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2" name="Szöveg helye 9">
            <a:extLst>
              <a:ext uri="{FF2B5EF4-FFF2-40B4-BE49-F238E27FC236}">
                <a16:creationId xmlns:a16="http://schemas.microsoft.com/office/drawing/2014/main" id="{0ADE03FF-A17B-4E6C-9710-A75EE921123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8000" y="3412170"/>
            <a:ext cx="1423988" cy="754948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3" name="Szöveg helye 9">
            <a:extLst>
              <a:ext uri="{FF2B5EF4-FFF2-40B4-BE49-F238E27FC236}">
                <a16:creationId xmlns:a16="http://schemas.microsoft.com/office/drawing/2014/main" id="{2F824EEA-B3AA-41E3-A075-D7D69488531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8000" y="4193840"/>
            <a:ext cx="1423988" cy="754948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0" indent="87313">
              <a:spcAft>
                <a:spcPts val="0"/>
              </a:spcAft>
              <a:defRPr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14" name="Szöveg helye 9">
            <a:extLst>
              <a:ext uri="{FF2B5EF4-FFF2-40B4-BE49-F238E27FC236}">
                <a16:creationId xmlns:a16="http://schemas.microsoft.com/office/drawing/2014/main" id="{A837F8AE-92CF-44E3-A460-801030B75FF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80879" y="1855422"/>
            <a:ext cx="16822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5" name="Szöveg helye 9">
            <a:extLst>
              <a:ext uri="{FF2B5EF4-FFF2-40B4-BE49-F238E27FC236}">
                <a16:creationId xmlns:a16="http://schemas.microsoft.com/office/drawing/2014/main" id="{26C8F0F5-0A75-41EE-AC27-F50F276897E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823827" y="2633120"/>
            <a:ext cx="1647642" cy="751431"/>
          </a:xfrm>
          <a:noFill/>
        </p:spPr>
        <p:txBody>
          <a:bodyPr tIns="72000"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6" name="Szöveg helye 9">
            <a:extLst>
              <a:ext uri="{FF2B5EF4-FFF2-40B4-BE49-F238E27FC236}">
                <a16:creationId xmlns:a16="http://schemas.microsoft.com/office/drawing/2014/main" id="{62427213-D00C-40B8-8B98-B5F44FB5FDD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48896" y="2649677"/>
            <a:ext cx="1650995" cy="751431"/>
          </a:xfrm>
          <a:noFill/>
        </p:spPr>
        <p:txBody>
          <a:bodyPr tIns="72000" anchor="t"/>
          <a:lstStyle>
            <a:lvl1pPr marL="179388" indent="-179388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7" name="Szöveg helye 9">
            <a:extLst>
              <a:ext uri="{FF2B5EF4-FFF2-40B4-BE49-F238E27FC236}">
                <a16:creationId xmlns:a16="http://schemas.microsoft.com/office/drawing/2014/main" id="{3C33D408-DD4B-4474-91AE-C1B47D2FCDA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680879" y="2647740"/>
            <a:ext cx="16822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8" name="Szöveg helye 9">
            <a:extLst>
              <a:ext uri="{FF2B5EF4-FFF2-40B4-BE49-F238E27FC236}">
                <a16:creationId xmlns:a16="http://schemas.microsoft.com/office/drawing/2014/main" id="{57DE57F4-A0C5-44DD-A9CB-ED52F9E456C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821908" y="3402105"/>
            <a:ext cx="16469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19" name="Szöveg helye 9">
            <a:extLst>
              <a:ext uri="{FF2B5EF4-FFF2-40B4-BE49-F238E27FC236}">
                <a16:creationId xmlns:a16="http://schemas.microsoft.com/office/drawing/2014/main" id="{6430C000-521F-46A8-A0DA-F1E97A11184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55462" y="3417572"/>
            <a:ext cx="1650333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0" name="Szöveg helye 9">
            <a:extLst>
              <a:ext uri="{FF2B5EF4-FFF2-40B4-BE49-F238E27FC236}">
                <a16:creationId xmlns:a16="http://schemas.microsoft.com/office/drawing/2014/main" id="{20069E22-390C-4052-A93D-514BC0B5AE9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25240" y="1842034"/>
            <a:ext cx="16469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1" name="Szöveg helye 9">
            <a:extLst>
              <a:ext uri="{FF2B5EF4-FFF2-40B4-BE49-F238E27FC236}">
                <a16:creationId xmlns:a16="http://schemas.microsoft.com/office/drawing/2014/main" id="{A2F496F2-A8E3-4D9B-B94B-1C177EA3C55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681063" y="3420956"/>
            <a:ext cx="16822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2" name="Szöveg helye 9">
            <a:extLst>
              <a:ext uri="{FF2B5EF4-FFF2-40B4-BE49-F238E27FC236}">
                <a16:creationId xmlns:a16="http://schemas.microsoft.com/office/drawing/2014/main" id="{38E7E2FF-5C6E-4ED3-A758-BD2A4EFC048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822589" y="4184413"/>
            <a:ext cx="16469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3" name="Szöveg helye 9">
            <a:extLst>
              <a:ext uri="{FF2B5EF4-FFF2-40B4-BE49-F238E27FC236}">
                <a16:creationId xmlns:a16="http://schemas.microsoft.com/office/drawing/2014/main" id="{C6796956-3B89-44DE-B4EB-D93D28C487B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747805" y="4201391"/>
            <a:ext cx="1650333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sp>
        <p:nvSpPr>
          <p:cNvPr id="24" name="Szöveg helye 9">
            <a:extLst>
              <a:ext uri="{FF2B5EF4-FFF2-40B4-BE49-F238E27FC236}">
                <a16:creationId xmlns:a16="http://schemas.microsoft.com/office/drawing/2014/main" id="{9718DAB5-2944-403C-BD37-1344BFDCBF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681063" y="4183039"/>
            <a:ext cx="1682282" cy="760873"/>
          </a:xfrm>
          <a:noFill/>
        </p:spPr>
        <p:txBody>
          <a:bodyPr tIns="72000" anchor="t"/>
          <a:lstStyle>
            <a:lvl1pPr marL="179388" indent="-179388"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4pPr marL="266700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8775" indent="-179388"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hu-HU" dirty="0" err="1"/>
              <a:t>Level</a:t>
            </a:r>
            <a:r>
              <a:rPr lang="hu-HU" dirty="0"/>
              <a:t> 1 </a:t>
            </a:r>
            <a:r>
              <a:rPr lang="hu-HU" dirty="0" err="1"/>
              <a:t>mporit</a:t>
            </a:r>
            <a:r>
              <a:rPr lang="hu-HU" dirty="0"/>
              <a:t> re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 con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 ne</a:t>
            </a:r>
          </a:p>
          <a:p>
            <a:pPr lvl="0"/>
            <a:endParaRPr lang="hu-HU" dirty="0"/>
          </a:p>
          <a:p>
            <a:pPr lvl="2"/>
            <a:endParaRPr lang="hu-HU" dirty="0"/>
          </a:p>
        </p:txBody>
      </p:sp>
      <p:cxnSp>
        <p:nvCxnSpPr>
          <p:cNvPr id="25" name="Egyenes összekötő 24">
            <a:extLst>
              <a:ext uri="{FF2B5EF4-FFF2-40B4-BE49-F238E27FC236}">
                <a16:creationId xmlns:a16="http://schemas.microsoft.com/office/drawing/2014/main" id="{502CBD9D-BC3C-49CE-A53C-07E406A6DB31}"/>
              </a:ext>
            </a:extLst>
          </p:cNvPr>
          <p:cNvCxnSpPr>
            <a:cxnSpLocks/>
          </p:cNvCxnSpPr>
          <p:nvPr userDrawn="1"/>
        </p:nvCxnSpPr>
        <p:spPr>
          <a:xfrm flipV="1">
            <a:off x="1819461" y="1846001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Egyenes összekötő 27">
            <a:extLst>
              <a:ext uri="{FF2B5EF4-FFF2-40B4-BE49-F238E27FC236}">
                <a16:creationId xmlns:a16="http://schemas.microsoft.com/office/drawing/2014/main" id="{207A29F4-66D6-48C9-AE35-64E6C5BD760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25147" y="2607990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CA6BFDB6-ECD4-4FA6-A467-CE0883FC6BE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29107" y="3380380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Egyenes összekötő 33">
            <a:extLst>
              <a:ext uri="{FF2B5EF4-FFF2-40B4-BE49-F238E27FC236}">
                <a16:creationId xmlns:a16="http://schemas.microsoft.com/office/drawing/2014/main" id="{3F1C61D2-2161-4923-81D1-3389B8C07163}"/>
              </a:ext>
            </a:extLst>
          </p:cNvPr>
          <p:cNvCxnSpPr>
            <a:cxnSpLocks/>
          </p:cNvCxnSpPr>
          <p:nvPr userDrawn="1"/>
        </p:nvCxnSpPr>
        <p:spPr>
          <a:xfrm flipV="1">
            <a:off x="1829107" y="4178310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Egyenes összekötő 36">
            <a:extLst>
              <a:ext uri="{FF2B5EF4-FFF2-40B4-BE49-F238E27FC236}">
                <a16:creationId xmlns:a16="http://schemas.microsoft.com/office/drawing/2014/main" id="{F5110F59-33CB-4F12-BA1B-49E248B9E026}"/>
              </a:ext>
            </a:extLst>
          </p:cNvPr>
          <p:cNvCxnSpPr>
            <a:cxnSpLocks/>
          </p:cNvCxnSpPr>
          <p:nvPr userDrawn="1"/>
        </p:nvCxnSpPr>
        <p:spPr>
          <a:xfrm flipV="1">
            <a:off x="3743891" y="1856404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Egyenes összekötő 37">
            <a:extLst>
              <a:ext uri="{FF2B5EF4-FFF2-40B4-BE49-F238E27FC236}">
                <a16:creationId xmlns:a16="http://schemas.microsoft.com/office/drawing/2014/main" id="{8E5AFA5C-3E1B-49AF-B9AF-CAB0784F379A}"/>
              </a:ext>
            </a:extLst>
          </p:cNvPr>
          <p:cNvCxnSpPr>
            <a:cxnSpLocks/>
          </p:cNvCxnSpPr>
          <p:nvPr userDrawn="1"/>
        </p:nvCxnSpPr>
        <p:spPr>
          <a:xfrm flipV="1">
            <a:off x="3749577" y="2618393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Egyenes összekötő 38">
            <a:extLst>
              <a:ext uri="{FF2B5EF4-FFF2-40B4-BE49-F238E27FC236}">
                <a16:creationId xmlns:a16="http://schemas.microsoft.com/office/drawing/2014/main" id="{AB631A9B-0263-4E62-954F-68F275D6D779}"/>
              </a:ext>
            </a:extLst>
          </p:cNvPr>
          <p:cNvCxnSpPr>
            <a:cxnSpLocks/>
          </p:cNvCxnSpPr>
          <p:nvPr userDrawn="1"/>
        </p:nvCxnSpPr>
        <p:spPr>
          <a:xfrm flipV="1">
            <a:off x="3753537" y="3390783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Egyenes összekötő 39">
            <a:extLst>
              <a:ext uri="{FF2B5EF4-FFF2-40B4-BE49-F238E27FC236}">
                <a16:creationId xmlns:a16="http://schemas.microsoft.com/office/drawing/2014/main" id="{05AE377C-439F-42D3-BF75-3317F8E67CE0}"/>
              </a:ext>
            </a:extLst>
          </p:cNvPr>
          <p:cNvCxnSpPr>
            <a:cxnSpLocks/>
          </p:cNvCxnSpPr>
          <p:nvPr userDrawn="1"/>
        </p:nvCxnSpPr>
        <p:spPr>
          <a:xfrm flipV="1">
            <a:off x="3753537" y="4188713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Egyenes összekötő 40">
            <a:extLst>
              <a:ext uri="{FF2B5EF4-FFF2-40B4-BE49-F238E27FC236}">
                <a16:creationId xmlns:a16="http://schemas.microsoft.com/office/drawing/2014/main" id="{09DEAEBC-F9A8-4604-ADA3-9C5F3EBEE6DB}"/>
              </a:ext>
            </a:extLst>
          </p:cNvPr>
          <p:cNvCxnSpPr>
            <a:cxnSpLocks/>
          </p:cNvCxnSpPr>
          <p:nvPr userDrawn="1"/>
        </p:nvCxnSpPr>
        <p:spPr>
          <a:xfrm flipV="1">
            <a:off x="5696137" y="1858207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Egyenes összekötő 41">
            <a:extLst>
              <a:ext uri="{FF2B5EF4-FFF2-40B4-BE49-F238E27FC236}">
                <a16:creationId xmlns:a16="http://schemas.microsoft.com/office/drawing/2014/main" id="{AAC7705D-78A6-4AEC-A3C4-70B92BB1C092}"/>
              </a:ext>
            </a:extLst>
          </p:cNvPr>
          <p:cNvCxnSpPr>
            <a:cxnSpLocks/>
          </p:cNvCxnSpPr>
          <p:nvPr userDrawn="1"/>
        </p:nvCxnSpPr>
        <p:spPr>
          <a:xfrm flipV="1">
            <a:off x="5701823" y="2620196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Egyenes összekötő 42">
            <a:extLst>
              <a:ext uri="{FF2B5EF4-FFF2-40B4-BE49-F238E27FC236}">
                <a16:creationId xmlns:a16="http://schemas.microsoft.com/office/drawing/2014/main" id="{E7319DF6-DE71-4768-BC34-5E30DA0D034D}"/>
              </a:ext>
            </a:extLst>
          </p:cNvPr>
          <p:cNvCxnSpPr>
            <a:cxnSpLocks/>
          </p:cNvCxnSpPr>
          <p:nvPr userDrawn="1"/>
        </p:nvCxnSpPr>
        <p:spPr>
          <a:xfrm flipV="1">
            <a:off x="5705783" y="3392586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Egyenes összekötő 43">
            <a:extLst>
              <a:ext uri="{FF2B5EF4-FFF2-40B4-BE49-F238E27FC236}">
                <a16:creationId xmlns:a16="http://schemas.microsoft.com/office/drawing/2014/main" id="{573A50E4-2A33-4000-A9B9-4151F901FC81}"/>
              </a:ext>
            </a:extLst>
          </p:cNvPr>
          <p:cNvCxnSpPr>
            <a:cxnSpLocks/>
          </p:cNvCxnSpPr>
          <p:nvPr userDrawn="1"/>
        </p:nvCxnSpPr>
        <p:spPr>
          <a:xfrm flipV="1">
            <a:off x="5705783" y="4190516"/>
            <a:ext cx="1656000" cy="1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5228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les, responsibilities and modus operandi in the 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EE54F1-4CAA-4D04-9A07-EE2F876365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Roles</a:t>
            </a:r>
            <a:r>
              <a:rPr lang="hu-HU" dirty="0"/>
              <a:t>, </a:t>
            </a:r>
            <a:r>
              <a:rPr lang="hu-HU" dirty="0" err="1"/>
              <a:t>responsibilities</a:t>
            </a:r>
            <a:r>
              <a:rPr lang="hu-HU" dirty="0"/>
              <a:t> and modus </a:t>
            </a:r>
            <a:r>
              <a:rPr lang="hu-HU" dirty="0" err="1"/>
              <a:t>operandi</a:t>
            </a:r>
            <a:r>
              <a:rPr lang="hu-HU" dirty="0"/>
              <a:t> in </a:t>
            </a:r>
            <a:r>
              <a:rPr lang="hu-HU" dirty="0" err="1"/>
              <a:t>the</a:t>
            </a:r>
            <a:r>
              <a:rPr lang="hu-HU" dirty="0"/>
              <a:t> project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B14234B5-F45A-4217-9E66-3277FF6B4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7378B-E538-448F-861B-4A51B9BD32CF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2F6A9247-7995-44B5-83DD-F155C7B485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A8677C33-C412-439B-B76C-6B54AB1B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9">
            <a:extLst>
              <a:ext uri="{FF2B5EF4-FFF2-40B4-BE49-F238E27FC236}">
                <a16:creationId xmlns:a16="http://schemas.microsoft.com/office/drawing/2014/main" id="{D05B8619-F818-4310-851F-E7633C7F37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0215" y="1547380"/>
            <a:ext cx="1423988" cy="610591"/>
          </a:xfrm>
          <a:solidFill>
            <a:srgbClr val="EA1C0A"/>
          </a:solidFill>
          <a:ln>
            <a:noFill/>
          </a:ln>
        </p:spPr>
        <p:txBody>
          <a:bodyPr lIns="54000" tIns="0" anchor="ctr"/>
          <a:lstStyle>
            <a:lvl1pPr marL="0" indent="87313"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7" name="Szöveg helye 9">
            <a:extLst>
              <a:ext uri="{FF2B5EF4-FFF2-40B4-BE49-F238E27FC236}">
                <a16:creationId xmlns:a16="http://schemas.microsoft.com/office/drawing/2014/main" id="{DFE1571F-7FEC-498B-AD81-893F1FE55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215" y="2321547"/>
            <a:ext cx="1423988" cy="610591"/>
          </a:xfrm>
          <a:solidFill>
            <a:srgbClr val="5CC1CB"/>
          </a:solidFill>
          <a:ln>
            <a:noFill/>
          </a:ln>
        </p:spPr>
        <p:txBody>
          <a:bodyPr lIns="54000" tIns="0" anchor="ctr"/>
          <a:lstStyle>
            <a:lvl1pPr marL="0" indent="87313"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8" name="Szöveg helye 9">
            <a:extLst>
              <a:ext uri="{FF2B5EF4-FFF2-40B4-BE49-F238E27FC236}">
                <a16:creationId xmlns:a16="http://schemas.microsoft.com/office/drawing/2014/main" id="{97AC4C2E-61E6-49E1-887A-48F973CFA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0215" y="3095714"/>
            <a:ext cx="1423988" cy="610591"/>
          </a:xfrm>
          <a:solidFill>
            <a:srgbClr val="B00402"/>
          </a:solidFill>
          <a:ln>
            <a:noFill/>
          </a:ln>
        </p:spPr>
        <p:txBody>
          <a:bodyPr lIns="54000" tIns="0" anchor="ctr"/>
          <a:lstStyle>
            <a:lvl1pPr marL="0" indent="87313"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sp>
        <p:nvSpPr>
          <p:cNvPr id="9" name="Szöveg helye 9">
            <a:extLst>
              <a:ext uri="{FF2B5EF4-FFF2-40B4-BE49-F238E27FC236}">
                <a16:creationId xmlns:a16="http://schemas.microsoft.com/office/drawing/2014/main" id="{6FB5252B-DDF1-4547-B7C8-BBBCBA05F9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0215" y="3869881"/>
            <a:ext cx="1423988" cy="610591"/>
          </a:xfrm>
          <a:solidFill>
            <a:srgbClr val="E3E000"/>
          </a:solidFill>
          <a:ln>
            <a:noFill/>
          </a:ln>
        </p:spPr>
        <p:txBody>
          <a:bodyPr lIns="54000" tIns="0" anchor="ctr"/>
          <a:lstStyle>
            <a:lvl1pPr marL="0" indent="87313">
              <a:spcAft>
                <a:spcPts val="0"/>
              </a:spcAft>
              <a:defRPr sz="1200"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  <a:p>
            <a:pPr lvl="0"/>
            <a:r>
              <a:rPr lang="hu-HU" dirty="0" err="1"/>
              <a:t>Dolorem</a:t>
            </a:r>
            <a:r>
              <a:rPr lang="hu-HU" dirty="0"/>
              <a:t> </a:t>
            </a:r>
            <a:r>
              <a:rPr lang="hu-HU" dirty="0" err="1"/>
              <a:t>ipsu</a:t>
            </a:r>
            <a:endParaRPr lang="hu-HU" dirty="0"/>
          </a:p>
        </p:txBody>
      </p:sp>
      <p:cxnSp>
        <p:nvCxnSpPr>
          <p:cNvPr id="10" name="Egyenes összekötő 9">
            <a:extLst>
              <a:ext uri="{FF2B5EF4-FFF2-40B4-BE49-F238E27FC236}">
                <a16:creationId xmlns:a16="http://schemas.microsoft.com/office/drawing/2014/main" id="{7481A9A6-34AF-4986-94B3-19C9F499D8ED}"/>
              </a:ext>
            </a:extLst>
          </p:cNvPr>
          <p:cNvCxnSpPr/>
          <p:nvPr userDrawn="1"/>
        </p:nvCxnSpPr>
        <p:spPr>
          <a:xfrm>
            <a:off x="377999" y="1471695"/>
            <a:ext cx="1440000" cy="0"/>
          </a:xfrm>
          <a:prstGeom prst="line">
            <a:avLst/>
          </a:prstGeom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Egyenes összekötő 10">
            <a:extLst>
              <a:ext uri="{FF2B5EF4-FFF2-40B4-BE49-F238E27FC236}">
                <a16:creationId xmlns:a16="http://schemas.microsoft.com/office/drawing/2014/main" id="{3C20F640-4145-49AD-BFEB-C425A510D26E}"/>
              </a:ext>
            </a:extLst>
          </p:cNvPr>
          <p:cNvCxnSpPr>
            <a:cxnSpLocks/>
          </p:cNvCxnSpPr>
          <p:nvPr userDrawn="1"/>
        </p:nvCxnSpPr>
        <p:spPr>
          <a:xfrm>
            <a:off x="1964488" y="1462498"/>
            <a:ext cx="6444316" cy="0"/>
          </a:xfrm>
          <a:prstGeom prst="line">
            <a:avLst/>
          </a:prstGeom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Tartalom helye 2">
            <a:extLst>
              <a:ext uri="{FF2B5EF4-FFF2-40B4-BE49-F238E27FC236}">
                <a16:creationId xmlns:a16="http://schemas.microsoft.com/office/drawing/2014/main" id="{AA672123-78CC-4BDF-A7CD-218630E33F2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204655"/>
            <a:ext cx="902335" cy="212921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Top</a:t>
            </a:r>
          </a:p>
        </p:txBody>
      </p:sp>
      <p:sp>
        <p:nvSpPr>
          <p:cNvPr id="14" name="Tartalom helye 2">
            <a:extLst>
              <a:ext uri="{FF2B5EF4-FFF2-40B4-BE49-F238E27FC236}">
                <a16:creationId xmlns:a16="http://schemas.microsoft.com/office/drawing/2014/main" id="{FA853C4C-AE64-490F-A35F-03B7664D266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966444" y="1204655"/>
            <a:ext cx="1467636" cy="21292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 err="1"/>
              <a:t>Topics</a:t>
            </a:r>
            <a:endParaRPr lang="hu-HU" dirty="0"/>
          </a:p>
        </p:txBody>
      </p:sp>
      <p:sp>
        <p:nvSpPr>
          <p:cNvPr id="16" name="Szöveg helye 16">
            <a:extLst>
              <a:ext uri="{FF2B5EF4-FFF2-40B4-BE49-F238E27FC236}">
                <a16:creationId xmlns:a16="http://schemas.microsoft.com/office/drawing/2014/main" id="{0CEC3BDF-858A-4628-BDE9-C4C361D948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87463" y="1548263"/>
            <a:ext cx="2070774" cy="606522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cxnSp>
        <p:nvCxnSpPr>
          <p:cNvPr id="18" name="Egyenes összekötő 17">
            <a:extLst>
              <a:ext uri="{FF2B5EF4-FFF2-40B4-BE49-F238E27FC236}">
                <a16:creationId xmlns:a16="http://schemas.microsoft.com/office/drawing/2014/main" id="{AF26B583-201C-4F45-AD95-1825F436C03E}"/>
              </a:ext>
            </a:extLst>
          </p:cNvPr>
          <p:cNvCxnSpPr/>
          <p:nvPr userDrawn="1"/>
        </p:nvCxnSpPr>
        <p:spPr>
          <a:xfrm>
            <a:off x="1987463" y="2203646"/>
            <a:ext cx="6372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Egyenes összekötő 18">
            <a:extLst>
              <a:ext uri="{FF2B5EF4-FFF2-40B4-BE49-F238E27FC236}">
                <a16:creationId xmlns:a16="http://schemas.microsoft.com/office/drawing/2014/main" id="{8896275E-44AA-4149-AB2C-3420D37C0476}"/>
              </a:ext>
            </a:extLst>
          </p:cNvPr>
          <p:cNvCxnSpPr/>
          <p:nvPr userDrawn="1"/>
        </p:nvCxnSpPr>
        <p:spPr>
          <a:xfrm>
            <a:off x="2001873" y="3040780"/>
            <a:ext cx="6372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Egyenes összekötő 19">
            <a:extLst>
              <a:ext uri="{FF2B5EF4-FFF2-40B4-BE49-F238E27FC236}">
                <a16:creationId xmlns:a16="http://schemas.microsoft.com/office/drawing/2014/main" id="{8C8DEFAC-B7C6-4F76-BACB-B9092409827F}"/>
              </a:ext>
            </a:extLst>
          </p:cNvPr>
          <p:cNvCxnSpPr/>
          <p:nvPr userDrawn="1"/>
        </p:nvCxnSpPr>
        <p:spPr>
          <a:xfrm>
            <a:off x="1987463" y="3783133"/>
            <a:ext cx="6372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8F7011DF-46F3-4B14-944F-45E6501FEF55}"/>
              </a:ext>
            </a:extLst>
          </p:cNvPr>
          <p:cNvCxnSpPr/>
          <p:nvPr userDrawn="1"/>
        </p:nvCxnSpPr>
        <p:spPr>
          <a:xfrm>
            <a:off x="1994668" y="4539724"/>
            <a:ext cx="6372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Szöveg helye 16">
            <a:extLst>
              <a:ext uri="{FF2B5EF4-FFF2-40B4-BE49-F238E27FC236}">
                <a16:creationId xmlns:a16="http://schemas.microsoft.com/office/drawing/2014/main" id="{D4881C37-C212-47CE-AA5C-1D25F21E84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4668" y="2321546"/>
            <a:ext cx="2070774" cy="610592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27" name="Szöveg helye 16">
            <a:extLst>
              <a:ext uri="{FF2B5EF4-FFF2-40B4-BE49-F238E27FC236}">
                <a16:creationId xmlns:a16="http://schemas.microsoft.com/office/drawing/2014/main" id="{2C281AFB-929E-4773-8D63-04F583C79A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001873" y="3097973"/>
            <a:ext cx="2070774" cy="610591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29" name="Szöveg helye 16">
            <a:extLst>
              <a:ext uri="{FF2B5EF4-FFF2-40B4-BE49-F238E27FC236}">
                <a16:creationId xmlns:a16="http://schemas.microsoft.com/office/drawing/2014/main" id="{C94B51D9-6645-46A4-8A68-B75BFF06368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05059" y="3857496"/>
            <a:ext cx="2070774" cy="620669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30" name="Szöveg helye 16">
            <a:extLst>
              <a:ext uri="{FF2B5EF4-FFF2-40B4-BE49-F238E27FC236}">
                <a16:creationId xmlns:a16="http://schemas.microsoft.com/office/drawing/2014/main" id="{82C67AAF-57F4-4BEB-9902-EB7B46CE17B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03009" y="1547163"/>
            <a:ext cx="2070774" cy="602127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31" name="Tartalom helye 2">
            <a:extLst>
              <a:ext uri="{FF2B5EF4-FFF2-40B4-BE49-F238E27FC236}">
                <a16:creationId xmlns:a16="http://schemas.microsoft.com/office/drawing/2014/main" id="{9114FD20-38D3-47DF-8268-419399F1D0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5903009" y="1201676"/>
            <a:ext cx="1285191" cy="215900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 err="1"/>
              <a:t>Topics</a:t>
            </a:r>
            <a:endParaRPr lang="hu-HU" dirty="0"/>
          </a:p>
        </p:txBody>
      </p:sp>
      <p:sp>
        <p:nvSpPr>
          <p:cNvPr id="32" name="Szöveg helye 16">
            <a:extLst>
              <a:ext uri="{FF2B5EF4-FFF2-40B4-BE49-F238E27FC236}">
                <a16:creationId xmlns:a16="http://schemas.microsoft.com/office/drawing/2014/main" id="{C968E359-A775-4AD4-B1E8-9BDB3D1CA1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99704" y="2321546"/>
            <a:ext cx="2070774" cy="607191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33" name="Szöveg helye 16">
            <a:extLst>
              <a:ext uri="{FF2B5EF4-FFF2-40B4-BE49-F238E27FC236}">
                <a16:creationId xmlns:a16="http://schemas.microsoft.com/office/drawing/2014/main" id="{6A4034A8-160B-4166-BE05-E2C1309EC6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00410" y="3097974"/>
            <a:ext cx="2070774" cy="607568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  <p:sp>
        <p:nvSpPr>
          <p:cNvPr id="34" name="Szöveg helye 16">
            <a:extLst>
              <a:ext uri="{FF2B5EF4-FFF2-40B4-BE49-F238E27FC236}">
                <a16:creationId xmlns:a16="http://schemas.microsoft.com/office/drawing/2014/main" id="{E57C93C8-6424-4EC2-A911-B859395E683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03596" y="3852301"/>
            <a:ext cx="2070774" cy="623224"/>
          </a:xfrm>
        </p:spPr>
        <p:txBody>
          <a:bodyPr tIns="0"/>
          <a:lstStyle>
            <a:lvl1pPr marL="180975" indent="-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  <a:p>
            <a:pPr lvl="0"/>
            <a:endParaRPr lang="hu-HU" dirty="0"/>
          </a:p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503097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e 3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áromszög 10">
            <a:extLst>
              <a:ext uri="{FF2B5EF4-FFF2-40B4-BE49-F238E27FC236}">
                <a16:creationId xmlns:a16="http://schemas.microsoft.com/office/drawing/2014/main" id="{680DDA18-513E-45CB-8165-F2DC119EB7B8}"/>
              </a:ext>
            </a:extLst>
          </p:cNvPr>
          <p:cNvSpPr/>
          <p:nvPr userDrawn="1"/>
        </p:nvSpPr>
        <p:spPr>
          <a:xfrm>
            <a:off x="1798754" y="1592263"/>
            <a:ext cx="1168072" cy="926762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01D0CC3B-1026-4ECC-809C-F864DEA22E02}"/>
              </a:ext>
            </a:extLst>
          </p:cNvPr>
          <p:cNvSpPr/>
          <p:nvPr userDrawn="1"/>
        </p:nvSpPr>
        <p:spPr>
          <a:xfrm>
            <a:off x="1120270" y="2615714"/>
            <a:ext cx="2525040" cy="1055984"/>
          </a:xfrm>
          <a:prstGeom prst="trapezoid">
            <a:avLst>
              <a:gd name="adj" fmla="val 62046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F5C236C3-5B3A-4C24-84C7-65D7595D47EC}"/>
              </a:ext>
            </a:extLst>
          </p:cNvPr>
          <p:cNvSpPr/>
          <p:nvPr userDrawn="1"/>
        </p:nvSpPr>
        <p:spPr>
          <a:xfrm>
            <a:off x="447251" y="3768387"/>
            <a:ext cx="3912371" cy="1055984"/>
          </a:xfrm>
          <a:prstGeom prst="trapezoid">
            <a:avLst>
              <a:gd name="adj" fmla="val 6204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Háromszög 17">
            <a:extLst>
              <a:ext uri="{FF2B5EF4-FFF2-40B4-BE49-F238E27FC236}">
                <a16:creationId xmlns:a16="http://schemas.microsoft.com/office/drawing/2014/main" id="{537E552F-D81B-42B9-A9D0-D8A52C1DE78F}"/>
              </a:ext>
            </a:extLst>
          </p:cNvPr>
          <p:cNvSpPr/>
          <p:nvPr userDrawn="1"/>
        </p:nvSpPr>
        <p:spPr>
          <a:xfrm>
            <a:off x="6139696" y="1624428"/>
            <a:ext cx="1168072" cy="926762"/>
          </a:xfrm>
          <a:prstGeom prst="triangle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Trapezoid 18">
            <a:extLst>
              <a:ext uri="{FF2B5EF4-FFF2-40B4-BE49-F238E27FC236}">
                <a16:creationId xmlns:a16="http://schemas.microsoft.com/office/drawing/2014/main" id="{7AABE3AD-3830-4A19-AE71-72EE957159B8}"/>
              </a:ext>
            </a:extLst>
          </p:cNvPr>
          <p:cNvSpPr/>
          <p:nvPr userDrawn="1"/>
        </p:nvSpPr>
        <p:spPr>
          <a:xfrm>
            <a:off x="5461212" y="2631796"/>
            <a:ext cx="2525040" cy="1055984"/>
          </a:xfrm>
          <a:prstGeom prst="trapezoid">
            <a:avLst>
              <a:gd name="adj" fmla="val 62046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rapezoid 22">
            <a:extLst>
              <a:ext uri="{FF2B5EF4-FFF2-40B4-BE49-F238E27FC236}">
                <a16:creationId xmlns:a16="http://schemas.microsoft.com/office/drawing/2014/main" id="{0DAD743D-3030-4D0B-905A-367CFB87DA97}"/>
              </a:ext>
            </a:extLst>
          </p:cNvPr>
          <p:cNvSpPr/>
          <p:nvPr userDrawn="1"/>
        </p:nvSpPr>
        <p:spPr>
          <a:xfrm>
            <a:off x="4767546" y="3768387"/>
            <a:ext cx="3912371" cy="1055984"/>
          </a:xfrm>
          <a:prstGeom prst="trapezoid">
            <a:avLst>
              <a:gd name="adj" fmla="val 6204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401EF2E1-5422-48D5-AAE8-6DEF86864A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4161" y="3957447"/>
            <a:ext cx="2212166" cy="67786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dolores</a:t>
            </a:r>
            <a:r>
              <a:rPr lang="hu-HU" dirty="0"/>
              <a:t> </a:t>
            </a:r>
            <a:r>
              <a:rPr lang="hu-HU" dirty="0" err="1"/>
              <a:t>idis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rendoriment</a:t>
            </a:r>
            <a:endParaRPr lang="hu-HU" dirty="0"/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DEBC016A-F0FB-4625-A27D-15A2FBE3B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52109" y="2775836"/>
            <a:ext cx="1256563" cy="766639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BAA48A23-8415-4C67-80E2-6870352C50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24259" y="2080463"/>
            <a:ext cx="512262" cy="347454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954FE2C5-EC4F-4775-B8E7-3BA34D667D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7600" y="2055644"/>
            <a:ext cx="512262" cy="347454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E5B0C8F2-ACB9-40DA-B27F-CD19874C87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449" y="2836150"/>
            <a:ext cx="1256563" cy="766639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32" name="Szöveg helye 26">
            <a:extLst>
              <a:ext uri="{FF2B5EF4-FFF2-40B4-BE49-F238E27FC236}">
                <a16:creationId xmlns:a16="http://schemas.microsoft.com/office/drawing/2014/main" id="{8296C7F1-BB2E-4861-A177-42014A3A9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7647" y="3967141"/>
            <a:ext cx="2212166" cy="67786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dolores</a:t>
            </a:r>
            <a:r>
              <a:rPr lang="hu-HU" dirty="0"/>
              <a:t> </a:t>
            </a:r>
            <a:r>
              <a:rPr lang="hu-HU" dirty="0" err="1"/>
              <a:t>idis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rendoriment</a:t>
            </a:r>
            <a:endParaRPr lang="hu-HU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02372B5B-C7D8-4BDA-8301-006C86D67982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Pyramide</a:t>
            </a:r>
            <a:r>
              <a:rPr lang="hu-HU" dirty="0"/>
              <a:t> (3 </a:t>
            </a:r>
            <a:r>
              <a:rPr lang="hu-HU" dirty="0" err="1"/>
              <a:t>Level</a:t>
            </a:r>
            <a:r>
              <a:rPr lang="hu-HU" dirty="0"/>
              <a:t>)</a:t>
            </a:r>
            <a:endParaRPr lang="en-GB" dirty="0"/>
          </a:p>
        </p:txBody>
      </p:sp>
      <p:sp>
        <p:nvSpPr>
          <p:cNvPr id="33" name="Fußzeilenplatzhalter 6">
            <a:extLst>
              <a:ext uri="{FF2B5EF4-FFF2-40B4-BE49-F238E27FC236}">
                <a16:creationId xmlns:a16="http://schemas.microsoft.com/office/drawing/2014/main" id="{3B48A6D3-858F-4C84-97A3-13B48B9BA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999963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e 4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rapezoid 32">
            <a:extLst>
              <a:ext uri="{FF2B5EF4-FFF2-40B4-BE49-F238E27FC236}">
                <a16:creationId xmlns:a16="http://schemas.microsoft.com/office/drawing/2014/main" id="{61588B85-DAD5-4035-A02C-85A8B4A883DB}"/>
              </a:ext>
            </a:extLst>
          </p:cNvPr>
          <p:cNvSpPr/>
          <p:nvPr userDrawn="1"/>
        </p:nvSpPr>
        <p:spPr>
          <a:xfrm>
            <a:off x="5836405" y="2619759"/>
            <a:ext cx="1772360" cy="438449"/>
          </a:xfrm>
          <a:prstGeom prst="trapezoid">
            <a:avLst>
              <a:gd name="adj" fmla="val 60511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Háromszög 23">
            <a:extLst>
              <a:ext uri="{FF2B5EF4-FFF2-40B4-BE49-F238E27FC236}">
                <a16:creationId xmlns:a16="http://schemas.microsoft.com/office/drawing/2014/main" id="{7149EA99-90FB-4366-BC68-92845BA48A3D}"/>
              </a:ext>
            </a:extLst>
          </p:cNvPr>
          <p:cNvSpPr/>
          <p:nvPr userDrawn="1"/>
        </p:nvSpPr>
        <p:spPr>
          <a:xfrm>
            <a:off x="6138549" y="1592263"/>
            <a:ext cx="1168072" cy="926762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Háromszög 10">
            <a:extLst>
              <a:ext uri="{FF2B5EF4-FFF2-40B4-BE49-F238E27FC236}">
                <a16:creationId xmlns:a16="http://schemas.microsoft.com/office/drawing/2014/main" id="{680DDA18-513E-45CB-8165-F2DC119EB7B8}"/>
              </a:ext>
            </a:extLst>
          </p:cNvPr>
          <p:cNvSpPr/>
          <p:nvPr userDrawn="1"/>
        </p:nvSpPr>
        <p:spPr>
          <a:xfrm>
            <a:off x="1798754" y="1592263"/>
            <a:ext cx="1168072" cy="926762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01D0CC3B-1026-4ECC-809C-F864DEA22E02}"/>
              </a:ext>
            </a:extLst>
          </p:cNvPr>
          <p:cNvSpPr/>
          <p:nvPr userDrawn="1"/>
        </p:nvSpPr>
        <p:spPr>
          <a:xfrm>
            <a:off x="1120270" y="3150254"/>
            <a:ext cx="2525040" cy="521443"/>
          </a:xfrm>
          <a:prstGeom prst="trapezoid">
            <a:avLst>
              <a:gd name="adj" fmla="val 62046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F5C236C3-5B3A-4C24-84C7-65D7595D47EC}"/>
              </a:ext>
            </a:extLst>
          </p:cNvPr>
          <p:cNvSpPr/>
          <p:nvPr userDrawn="1"/>
        </p:nvSpPr>
        <p:spPr>
          <a:xfrm>
            <a:off x="447251" y="3768387"/>
            <a:ext cx="3912371" cy="1055984"/>
          </a:xfrm>
          <a:prstGeom prst="trapezoid">
            <a:avLst>
              <a:gd name="adj" fmla="val 6204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401EF2E1-5422-48D5-AAE8-6DEF86864A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4161" y="3957447"/>
            <a:ext cx="2212166" cy="67786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dolores</a:t>
            </a:r>
            <a:r>
              <a:rPr lang="hu-HU" dirty="0"/>
              <a:t> </a:t>
            </a:r>
            <a:r>
              <a:rPr lang="hu-HU" dirty="0" err="1"/>
              <a:t>idis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rendoriment</a:t>
            </a:r>
            <a:endParaRPr lang="hu-HU" dirty="0"/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DEBC016A-F0FB-4625-A27D-15A2FBE3B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90257" y="3153032"/>
            <a:ext cx="1772360" cy="488785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BAA48A23-8415-4C67-80E2-6870352C50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24259" y="2080463"/>
            <a:ext cx="512262" cy="34745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954FE2C5-EC4F-4775-B8E7-3BA34D667D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7600" y="2055644"/>
            <a:ext cx="512262" cy="347454"/>
          </a:xfrm>
        </p:spPr>
        <p:txBody>
          <a:bodyPr/>
          <a:lstStyle>
            <a:lvl1pPr algn="ctr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E5B0C8F2-ACB9-40DA-B27F-CD19874C87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4303" y="2615715"/>
            <a:ext cx="1256563" cy="44249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0" name="Trapezoid 19">
            <a:extLst>
              <a:ext uri="{FF2B5EF4-FFF2-40B4-BE49-F238E27FC236}">
                <a16:creationId xmlns:a16="http://schemas.microsoft.com/office/drawing/2014/main" id="{FA1AC116-7254-4714-84C3-9A7198E954DC}"/>
              </a:ext>
            </a:extLst>
          </p:cNvPr>
          <p:cNvSpPr/>
          <p:nvPr userDrawn="1"/>
        </p:nvSpPr>
        <p:spPr>
          <a:xfrm>
            <a:off x="1490257" y="2615715"/>
            <a:ext cx="1772360" cy="438449"/>
          </a:xfrm>
          <a:prstGeom prst="trapezoid">
            <a:avLst>
              <a:gd name="adj" fmla="val 60511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1" name="Szöveg helye 26">
            <a:extLst>
              <a:ext uri="{FF2B5EF4-FFF2-40B4-BE49-F238E27FC236}">
                <a16:creationId xmlns:a16="http://schemas.microsoft.com/office/drawing/2014/main" id="{345EC333-54D4-48FA-A701-CE70AC2744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86168" y="2595736"/>
            <a:ext cx="1634535" cy="426681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5" name="Trapezoid 24">
            <a:extLst>
              <a:ext uri="{FF2B5EF4-FFF2-40B4-BE49-F238E27FC236}">
                <a16:creationId xmlns:a16="http://schemas.microsoft.com/office/drawing/2014/main" id="{9F948645-3C8F-4ED7-9B03-D77767418594}"/>
              </a:ext>
            </a:extLst>
          </p:cNvPr>
          <p:cNvSpPr/>
          <p:nvPr userDrawn="1"/>
        </p:nvSpPr>
        <p:spPr>
          <a:xfrm>
            <a:off x="5460065" y="3147567"/>
            <a:ext cx="2525040" cy="521443"/>
          </a:xfrm>
          <a:prstGeom prst="trapezoid">
            <a:avLst>
              <a:gd name="adj" fmla="val 62046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id="{4B7318AD-6CA8-4006-98EA-0E82004BF8C7}"/>
              </a:ext>
            </a:extLst>
          </p:cNvPr>
          <p:cNvSpPr/>
          <p:nvPr userDrawn="1"/>
        </p:nvSpPr>
        <p:spPr>
          <a:xfrm>
            <a:off x="4766398" y="3771636"/>
            <a:ext cx="3912371" cy="1055984"/>
          </a:xfrm>
          <a:prstGeom prst="trapezoid">
            <a:avLst>
              <a:gd name="adj" fmla="val 6204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4" name="Szöveg helye 26">
            <a:extLst>
              <a:ext uri="{FF2B5EF4-FFF2-40B4-BE49-F238E27FC236}">
                <a16:creationId xmlns:a16="http://schemas.microsoft.com/office/drawing/2014/main" id="{3B87B9E0-DE45-4E1F-A09A-17F415AB71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37177" y="3142953"/>
            <a:ext cx="1772360" cy="488785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BB07D375-C23A-4832-A3C6-916E9566331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23426" y="3962936"/>
            <a:ext cx="2212166" cy="67786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dolores</a:t>
            </a:r>
            <a:r>
              <a:rPr lang="hu-HU" dirty="0"/>
              <a:t> </a:t>
            </a:r>
            <a:r>
              <a:rPr lang="hu-HU" dirty="0" err="1"/>
              <a:t>idis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rendoriment</a:t>
            </a:r>
            <a:endParaRPr lang="hu-HU" dirty="0"/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B29425E6-0720-4F2F-A378-52E167B70785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Pyramide</a:t>
            </a:r>
            <a:r>
              <a:rPr lang="hu-HU" dirty="0"/>
              <a:t> (4 </a:t>
            </a:r>
            <a:r>
              <a:rPr lang="hu-HU" dirty="0" err="1"/>
              <a:t>Level</a:t>
            </a:r>
            <a:r>
              <a:rPr lang="hu-HU" dirty="0"/>
              <a:t>)</a:t>
            </a:r>
            <a:endParaRPr lang="en-GB" dirty="0"/>
          </a:p>
        </p:txBody>
      </p:sp>
      <p:sp>
        <p:nvSpPr>
          <p:cNvPr id="39" name="Fußzeilenplatzhalter 6">
            <a:extLst>
              <a:ext uri="{FF2B5EF4-FFF2-40B4-BE49-F238E27FC236}">
                <a16:creationId xmlns:a16="http://schemas.microsoft.com/office/drawing/2014/main" id="{BB9CD44B-161E-4483-B7DF-001F4AAD5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224791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 (6 lev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2E41566-C62A-4D4E-B4AB-BB4CC31109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Pyramid</a:t>
            </a:r>
            <a:r>
              <a:rPr lang="hu-HU" dirty="0"/>
              <a:t> (6 </a:t>
            </a:r>
            <a:r>
              <a:rPr lang="hu-HU" dirty="0" err="1"/>
              <a:t>level</a:t>
            </a:r>
            <a:r>
              <a:rPr lang="hu-HU" dirty="0"/>
              <a:t>)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C6ADE527-99CC-4E71-84B1-5322DDB2A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7F5FE12-FEF0-4196-8344-C78C8CDA8BD2}"/>
              </a:ext>
            </a:extLst>
          </p:cNvPr>
          <p:cNvSpPr>
            <a:spLocks/>
          </p:cNvSpPr>
          <p:nvPr userDrawn="1"/>
        </p:nvSpPr>
        <p:spPr bwMode="auto">
          <a:xfrm>
            <a:off x="2037522" y="1368746"/>
            <a:ext cx="609036" cy="528148"/>
          </a:xfrm>
          <a:custGeom>
            <a:avLst/>
            <a:gdLst>
              <a:gd name="T0" fmla="*/ 0 w 384"/>
              <a:gd name="T1" fmla="*/ 333 h 333"/>
              <a:gd name="T2" fmla="*/ 384 w 384"/>
              <a:gd name="T3" fmla="*/ 333 h 333"/>
              <a:gd name="T4" fmla="*/ 192 w 384"/>
              <a:gd name="T5" fmla="*/ 0 h 333"/>
              <a:gd name="T6" fmla="*/ 0 w 384"/>
              <a:gd name="T7" fmla="*/ 333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4" h="333">
                <a:moveTo>
                  <a:pt x="0" y="333"/>
                </a:moveTo>
                <a:lnTo>
                  <a:pt x="384" y="333"/>
                </a:lnTo>
                <a:lnTo>
                  <a:pt x="192" y="0"/>
                </a:lnTo>
                <a:lnTo>
                  <a:pt x="0" y="33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0" tIns="179833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srgbClr val="B00402"/>
              </a:solidFill>
              <a:latin typeface="EON Brix Sans Black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9615918-FE8C-4136-B478-478FCD107C5C}"/>
              </a:ext>
            </a:extLst>
          </p:cNvPr>
          <p:cNvSpPr>
            <a:spLocks/>
          </p:cNvSpPr>
          <p:nvPr userDrawn="1"/>
        </p:nvSpPr>
        <p:spPr bwMode="auto">
          <a:xfrm>
            <a:off x="1706042" y="1942890"/>
            <a:ext cx="1271997" cy="528148"/>
          </a:xfrm>
          <a:custGeom>
            <a:avLst/>
            <a:gdLst>
              <a:gd name="T0" fmla="*/ 192 w 802"/>
              <a:gd name="T1" fmla="*/ 0 h 333"/>
              <a:gd name="T2" fmla="*/ 0 w 802"/>
              <a:gd name="T3" fmla="*/ 333 h 333"/>
              <a:gd name="T4" fmla="*/ 802 w 802"/>
              <a:gd name="T5" fmla="*/ 333 h 333"/>
              <a:gd name="T6" fmla="*/ 610 w 802"/>
              <a:gd name="T7" fmla="*/ 0 h 333"/>
              <a:gd name="T8" fmla="*/ 192 w 802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02" h="333">
                <a:moveTo>
                  <a:pt x="192" y="0"/>
                </a:moveTo>
                <a:lnTo>
                  <a:pt x="0" y="333"/>
                </a:lnTo>
                <a:lnTo>
                  <a:pt x="802" y="333"/>
                </a:lnTo>
                <a:lnTo>
                  <a:pt x="610" y="0"/>
                </a:lnTo>
                <a:lnTo>
                  <a:pt x="192" y="0"/>
                </a:lnTo>
                <a:close/>
              </a:path>
            </a:pathLst>
          </a:custGeom>
          <a:solidFill>
            <a:srgbClr val="85D1D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4F63C6A-D7C1-4A0E-81E6-1515C6760EF4}"/>
              </a:ext>
            </a:extLst>
          </p:cNvPr>
          <p:cNvSpPr>
            <a:spLocks/>
          </p:cNvSpPr>
          <p:nvPr userDrawn="1"/>
        </p:nvSpPr>
        <p:spPr bwMode="auto">
          <a:xfrm>
            <a:off x="1374561" y="2515447"/>
            <a:ext cx="1934958" cy="528148"/>
          </a:xfrm>
          <a:custGeom>
            <a:avLst/>
            <a:gdLst>
              <a:gd name="T0" fmla="*/ 1028 w 1220"/>
              <a:gd name="T1" fmla="*/ 0 h 333"/>
              <a:gd name="T2" fmla="*/ 192 w 1220"/>
              <a:gd name="T3" fmla="*/ 0 h 333"/>
              <a:gd name="T4" fmla="*/ 0 w 1220"/>
              <a:gd name="T5" fmla="*/ 333 h 333"/>
              <a:gd name="T6" fmla="*/ 1220 w 1220"/>
              <a:gd name="T7" fmla="*/ 333 h 333"/>
              <a:gd name="T8" fmla="*/ 1028 w 1220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0" h="333">
                <a:moveTo>
                  <a:pt x="1028" y="0"/>
                </a:moveTo>
                <a:lnTo>
                  <a:pt x="192" y="0"/>
                </a:lnTo>
                <a:lnTo>
                  <a:pt x="0" y="333"/>
                </a:lnTo>
                <a:lnTo>
                  <a:pt x="1220" y="333"/>
                </a:lnTo>
                <a:lnTo>
                  <a:pt x="102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F810E8F4-EEBF-4904-AE2A-BBF55B866072}"/>
              </a:ext>
            </a:extLst>
          </p:cNvPr>
          <p:cNvSpPr>
            <a:spLocks/>
          </p:cNvSpPr>
          <p:nvPr userDrawn="1"/>
        </p:nvSpPr>
        <p:spPr bwMode="auto">
          <a:xfrm>
            <a:off x="1043081" y="3089590"/>
            <a:ext cx="2597920" cy="528148"/>
          </a:xfrm>
          <a:custGeom>
            <a:avLst/>
            <a:gdLst>
              <a:gd name="T0" fmla="*/ 1445 w 1638"/>
              <a:gd name="T1" fmla="*/ 0 h 333"/>
              <a:gd name="T2" fmla="*/ 192 w 1638"/>
              <a:gd name="T3" fmla="*/ 0 h 333"/>
              <a:gd name="T4" fmla="*/ 0 w 1638"/>
              <a:gd name="T5" fmla="*/ 333 h 333"/>
              <a:gd name="T6" fmla="*/ 1638 w 1638"/>
              <a:gd name="T7" fmla="*/ 333 h 333"/>
              <a:gd name="T8" fmla="*/ 1445 w 1638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38" h="333">
                <a:moveTo>
                  <a:pt x="1445" y="0"/>
                </a:moveTo>
                <a:lnTo>
                  <a:pt x="192" y="0"/>
                </a:lnTo>
                <a:lnTo>
                  <a:pt x="0" y="333"/>
                </a:lnTo>
                <a:lnTo>
                  <a:pt x="1638" y="333"/>
                </a:lnTo>
                <a:lnTo>
                  <a:pt x="1445" y="0"/>
                </a:lnTo>
                <a:close/>
              </a:path>
            </a:pathLst>
          </a:custGeom>
          <a:solidFill>
            <a:srgbClr val="C4434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schemeClr val="bg1"/>
              </a:solidFill>
              <a:latin typeface="EON Brix Sans Black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229FD0F2-CF8E-4AA8-9053-A32BB2C3A82A}"/>
              </a:ext>
            </a:extLst>
          </p:cNvPr>
          <p:cNvSpPr>
            <a:spLocks/>
          </p:cNvSpPr>
          <p:nvPr userDrawn="1"/>
        </p:nvSpPr>
        <p:spPr bwMode="auto">
          <a:xfrm>
            <a:off x="713186" y="3662148"/>
            <a:ext cx="3257709" cy="528148"/>
          </a:xfrm>
          <a:custGeom>
            <a:avLst/>
            <a:gdLst>
              <a:gd name="T0" fmla="*/ 1862 w 2054"/>
              <a:gd name="T1" fmla="*/ 0 h 333"/>
              <a:gd name="T2" fmla="*/ 192 w 2054"/>
              <a:gd name="T3" fmla="*/ 0 h 333"/>
              <a:gd name="T4" fmla="*/ 0 w 2054"/>
              <a:gd name="T5" fmla="*/ 333 h 333"/>
              <a:gd name="T6" fmla="*/ 2054 w 2054"/>
              <a:gd name="T7" fmla="*/ 333 h 333"/>
              <a:gd name="T8" fmla="*/ 1862 w 2054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54" h="333">
                <a:moveTo>
                  <a:pt x="1862" y="0"/>
                </a:moveTo>
                <a:lnTo>
                  <a:pt x="192" y="0"/>
                </a:lnTo>
                <a:lnTo>
                  <a:pt x="0" y="333"/>
                </a:lnTo>
                <a:lnTo>
                  <a:pt x="2054" y="333"/>
                </a:lnTo>
                <a:lnTo>
                  <a:pt x="18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0F9D2E9C-1010-489F-A0CE-5C49F55BFC8E}"/>
              </a:ext>
            </a:extLst>
          </p:cNvPr>
          <p:cNvSpPr>
            <a:spLocks/>
          </p:cNvSpPr>
          <p:nvPr userDrawn="1"/>
        </p:nvSpPr>
        <p:spPr bwMode="auto">
          <a:xfrm>
            <a:off x="381705" y="4236291"/>
            <a:ext cx="3920670" cy="528148"/>
          </a:xfrm>
          <a:custGeom>
            <a:avLst/>
            <a:gdLst>
              <a:gd name="T0" fmla="*/ 192 w 2472"/>
              <a:gd name="T1" fmla="*/ 0 h 333"/>
              <a:gd name="T2" fmla="*/ 0 w 2472"/>
              <a:gd name="T3" fmla="*/ 333 h 333"/>
              <a:gd name="T4" fmla="*/ 2472 w 2472"/>
              <a:gd name="T5" fmla="*/ 333 h 333"/>
              <a:gd name="T6" fmla="*/ 2279 w 2472"/>
              <a:gd name="T7" fmla="*/ 0 h 333"/>
              <a:gd name="T8" fmla="*/ 192 w 2472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72" h="333">
                <a:moveTo>
                  <a:pt x="192" y="0"/>
                </a:moveTo>
                <a:lnTo>
                  <a:pt x="0" y="333"/>
                </a:lnTo>
                <a:lnTo>
                  <a:pt x="2472" y="333"/>
                </a:lnTo>
                <a:lnTo>
                  <a:pt x="2279" y="0"/>
                </a:lnTo>
                <a:lnTo>
                  <a:pt x="19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CFFC71B5-9F6A-49C6-95B3-4BA35B641A52}"/>
              </a:ext>
            </a:extLst>
          </p:cNvPr>
          <p:cNvSpPr>
            <a:spLocks/>
          </p:cNvSpPr>
          <p:nvPr userDrawn="1"/>
        </p:nvSpPr>
        <p:spPr bwMode="auto">
          <a:xfrm>
            <a:off x="6299466" y="1368746"/>
            <a:ext cx="609036" cy="528148"/>
          </a:xfrm>
          <a:custGeom>
            <a:avLst/>
            <a:gdLst>
              <a:gd name="T0" fmla="*/ 0 w 384"/>
              <a:gd name="T1" fmla="*/ 333 h 333"/>
              <a:gd name="T2" fmla="*/ 384 w 384"/>
              <a:gd name="T3" fmla="*/ 333 h 333"/>
              <a:gd name="T4" fmla="*/ 192 w 384"/>
              <a:gd name="T5" fmla="*/ 0 h 333"/>
              <a:gd name="T6" fmla="*/ 0 w 384"/>
              <a:gd name="T7" fmla="*/ 333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4" h="333">
                <a:moveTo>
                  <a:pt x="0" y="333"/>
                </a:moveTo>
                <a:lnTo>
                  <a:pt x="384" y="333"/>
                </a:lnTo>
                <a:lnTo>
                  <a:pt x="192" y="0"/>
                </a:lnTo>
                <a:lnTo>
                  <a:pt x="0" y="333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txBody>
          <a:bodyPr vert="horz" wrap="square" lIns="0" tIns="179833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srgbClr val="B00402"/>
              </a:solidFill>
              <a:latin typeface="EON Brix Sans Black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69F9B5BF-BEAC-43DE-9430-64A5F52C2078}"/>
              </a:ext>
            </a:extLst>
          </p:cNvPr>
          <p:cNvSpPr>
            <a:spLocks/>
          </p:cNvSpPr>
          <p:nvPr userDrawn="1"/>
        </p:nvSpPr>
        <p:spPr bwMode="auto">
          <a:xfrm>
            <a:off x="5967986" y="1942890"/>
            <a:ext cx="1271997" cy="528148"/>
          </a:xfrm>
          <a:custGeom>
            <a:avLst/>
            <a:gdLst>
              <a:gd name="T0" fmla="*/ 192 w 802"/>
              <a:gd name="T1" fmla="*/ 0 h 333"/>
              <a:gd name="T2" fmla="*/ 0 w 802"/>
              <a:gd name="T3" fmla="*/ 333 h 333"/>
              <a:gd name="T4" fmla="*/ 802 w 802"/>
              <a:gd name="T5" fmla="*/ 333 h 333"/>
              <a:gd name="T6" fmla="*/ 610 w 802"/>
              <a:gd name="T7" fmla="*/ 0 h 333"/>
              <a:gd name="T8" fmla="*/ 192 w 802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02" h="333">
                <a:moveTo>
                  <a:pt x="192" y="0"/>
                </a:moveTo>
                <a:lnTo>
                  <a:pt x="0" y="333"/>
                </a:lnTo>
                <a:lnTo>
                  <a:pt x="802" y="333"/>
                </a:lnTo>
                <a:lnTo>
                  <a:pt x="610" y="0"/>
                </a:lnTo>
                <a:lnTo>
                  <a:pt x="192" y="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0A12C857-48FA-4C0D-95C8-C02126C39C88}"/>
              </a:ext>
            </a:extLst>
          </p:cNvPr>
          <p:cNvSpPr>
            <a:spLocks/>
          </p:cNvSpPr>
          <p:nvPr userDrawn="1"/>
        </p:nvSpPr>
        <p:spPr bwMode="auto">
          <a:xfrm>
            <a:off x="5636505" y="2515447"/>
            <a:ext cx="1934958" cy="528148"/>
          </a:xfrm>
          <a:custGeom>
            <a:avLst/>
            <a:gdLst>
              <a:gd name="T0" fmla="*/ 1028 w 1220"/>
              <a:gd name="T1" fmla="*/ 0 h 333"/>
              <a:gd name="T2" fmla="*/ 192 w 1220"/>
              <a:gd name="T3" fmla="*/ 0 h 333"/>
              <a:gd name="T4" fmla="*/ 0 w 1220"/>
              <a:gd name="T5" fmla="*/ 333 h 333"/>
              <a:gd name="T6" fmla="*/ 1220 w 1220"/>
              <a:gd name="T7" fmla="*/ 333 h 333"/>
              <a:gd name="T8" fmla="*/ 1028 w 1220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0" h="333">
                <a:moveTo>
                  <a:pt x="1028" y="0"/>
                </a:moveTo>
                <a:lnTo>
                  <a:pt x="192" y="0"/>
                </a:lnTo>
                <a:lnTo>
                  <a:pt x="0" y="333"/>
                </a:lnTo>
                <a:lnTo>
                  <a:pt x="1220" y="333"/>
                </a:lnTo>
                <a:lnTo>
                  <a:pt x="1028" y="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F1AAA8A1-A972-41A5-9A9B-2958FF69FF38}"/>
              </a:ext>
            </a:extLst>
          </p:cNvPr>
          <p:cNvSpPr>
            <a:spLocks/>
          </p:cNvSpPr>
          <p:nvPr userDrawn="1"/>
        </p:nvSpPr>
        <p:spPr bwMode="auto">
          <a:xfrm>
            <a:off x="5305025" y="3089590"/>
            <a:ext cx="2597920" cy="528148"/>
          </a:xfrm>
          <a:custGeom>
            <a:avLst/>
            <a:gdLst>
              <a:gd name="T0" fmla="*/ 1445 w 1638"/>
              <a:gd name="T1" fmla="*/ 0 h 333"/>
              <a:gd name="T2" fmla="*/ 192 w 1638"/>
              <a:gd name="T3" fmla="*/ 0 h 333"/>
              <a:gd name="T4" fmla="*/ 0 w 1638"/>
              <a:gd name="T5" fmla="*/ 333 h 333"/>
              <a:gd name="T6" fmla="*/ 1638 w 1638"/>
              <a:gd name="T7" fmla="*/ 333 h 333"/>
              <a:gd name="T8" fmla="*/ 1445 w 1638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38" h="333">
                <a:moveTo>
                  <a:pt x="1445" y="0"/>
                </a:moveTo>
                <a:lnTo>
                  <a:pt x="192" y="0"/>
                </a:lnTo>
                <a:lnTo>
                  <a:pt x="0" y="333"/>
                </a:lnTo>
                <a:lnTo>
                  <a:pt x="1638" y="333"/>
                </a:lnTo>
                <a:lnTo>
                  <a:pt x="1445" y="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616C0B87-D7CE-4189-A986-2249441D7FEB}"/>
              </a:ext>
            </a:extLst>
          </p:cNvPr>
          <p:cNvSpPr>
            <a:spLocks/>
          </p:cNvSpPr>
          <p:nvPr userDrawn="1"/>
        </p:nvSpPr>
        <p:spPr bwMode="auto">
          <a:xfrm>
            <a:off x="4975130" y="3662148"/>
            <a:ext cx="3257709" cy="528148"/>
          </a:xfrm>
          <a:custGeom>
            <a:avLst/>
            <a:gdLst>
              <a:gd name="T0" fmla="*/ 1862 w 2054"/>
              <a:gd name="T1" fmla="*/ 0 h 333"/>
              <a:gd name="T2" fmla="*/ 192 w 2054"/>
              <a:gd name="T3" fmla="*/ 0 h 333"/>
              <a:gd name="T4" fmla="*/ 0 w 2054"/>
              <a:gd name="T5" fmla="*/ 333 h 333"/>
              <a:gd name="T6" fmla="*/ 2054 w 2054"/>
              <a:gd name="T7" fmla="*/ 333 h 333"/>
              <a:gd name="T8" fmla="*/ 1862 w 2054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54" h="333">
                <a:moveTo>
                  <a:pt x="1862" y="0"/>
                </a:moveTo>
                <a:lnTo>
                  <a:pt x="192" y="0"/>
                </a:lnTo>
                <a:lnTo>
                  <a:pt x="0" y="333"/>
                </a:lnTo>
                <a:lnTo>
                  <a:pt x="2054" y="333"/>
                </a:lnTo>
                <a:lnTo>
                  <a:pt x="1862" y="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0007EBF5-18F6-46A5-9C7D-7741188151A5}"/>
              </a:ext>
            </a:extLst>
          </p:cNvPr>
          <p:cNvSpPr>
            <a:spLocks/>
          </p:cNvSpPr>
          <p:nvPr userDrawn="1"/>
        </p:nvSpPr>
        <p:spPr bwMode="auto">
          <a:xfrm>
            <a:off x="4643649" y="4236291"/>
            <a:ext cx="3920670" cy="528148"/>
          </a:xfrm>
          <a:custGeom>
            <a:avLst/>
            <a:gdLst>
              <a:gd name="T0" fmla="*/ 192 w 2472"/>
              <a:gd name="T1" fmla="*/ 0 h 333"/>
              <a:gd name="T2" fmla="*/ 0 w 2472"/>
              <a:gd name="T3" fmla="*/ 333 h 333"/>
              <a:gd name="T4" fmla="*/ 2472 w 2472"/>
              <a:gd name="T5" fmla="*/ 333 h 333"/>
              <a:gd name="T6" fmla="*/ 2279 w 2472"/>
              <a:gd name="T7" fmla="*/ 0 h 333"/>
              <a:gd name="T8" fmla="*/ 192 w 2472"/>
              <a:gd name="T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72" h="333">
                <a:moveTo>
                  <a:pt x="192" y="0"/>
                </a:moveTo>
                <a:lnTo>
                  <a:pt x="0" y="333"/>
                </a:lnTo>
                <a:lnTo>
                  <a:pt x="2472" y="333"/>
                </a:lnTo>
                <a:lnTo>
                  <a:pt x="2279" y="0"/>
                </a:lnTo>
                <a:lnTo>
                  <a:pt x="192" y="0"/>
                </a:lnTo>
                <a:close/>
              </a:path>
            </a:pathLst>
          </a:custGeom>
          <a:solidFill>
            <a:srgbClr val="EA1C0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8" name="Szöveg helye 20">
            <a:extLst>
              <a:ext uri="{FF2B5EF4-FFF2-40B4-BE49-F238E27FC236}">
                <a16:creationId xmlns:a16="http://schemas.microsoft.com/office/drawing/2014/main" id="{6EB096EB-6DF7-4D8A-8071-128C04C66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2788" y="4264621"/>
            <a:ext cx="3302000" cy="471487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9" name="Szöveg helye 41">
            <a:extLst>
              <a:ext uri="{FF2B5EF4-FFF2-40B4-BE49-F238E27FC236}">
                <a16:creationId xmlns:a16="http://schemas.microsoft.com/office/drawing/2014/main" id="{15394352-F857-41E9-8DD7-89721635DD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987" y="3668110"/>
            <a:ext cx="2656653" cy="52289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0" name="Szöveg helye 43">
            <a:extLst>
              <a:ext uri="{FF2B5EF4-FFF2-40B4-BE49-F238E27FC236}">
                <a16:creationId xmlns:a16="http://schemas.microsoft.com/office/drawing/2014/main" id="{D62B3B6F-BF38-47F8-81AD-873339C4F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3740" y="3089275"/>
            <a:ext cx="1974850" cy="52863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1" name="Szöveg helye 45">
            <a:extLst>
              <a:ext uri="{FF2B5EF4-FFF2-40B4-BE49-F238E27FC236}">
                <a16:creationId xmlns:a16="http://schemas.microsoft.com/office/drawing/2014/main" id="{37F88F5B-6AC7-45D6-8103-8EA3F6BF5A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03940" y="2534252"/>
            <a:ext cx="1314450" cy="490537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2" name="Szöveg helye 47">
            <a:extLst>
              <a:ext uri="{FF2B5EF4-FFF2-40B4-BE49-F238E27FC236}">
                <a16:creationId xmlns:a16="http://schemas.microsoft.com/office/drawing/2014/main" id="{7B349D2B-F38E-4C93-B54C-9FE7F88788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36763" y="1943100"/>
            <a:ext cx="609600" cy="49053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3" name="Szöveg helye 49">
            <a:extLst>
              <a:ext uri="{FF2B5EF4-FFF2-40B4-BE49-F238E27FC236}">
                <a16:creationId xmlns:a16="http://schemas.microsoft.com/office/drawing/2014/main" id="{396D0628-EFC9-446A-9D5B-FBDC06A5B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55333" y="1632820"/>
            <a:ext cx="372460" cy="263525"/>
          </a:xfrm>
        </p:spPr>
        <p:txBody>
          <a:bodyPr anchor="ctr"/>
          <a:lstStyle>
            <a:lvl1pPr algn="ctr"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4" name="Szöveg helye 20">
            <a:extLst>
              <a:ext uri="{FF2B5EF4-FFF2-40B4-BE49-F238E27FC236}">
                <a16:creationId xmlns:a16="http://schemas.microsoft.com/office/drawing/2014/main" id="{08B7F0BD-84BF-485E-ABA3-0D62BAC969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6386" y="4264621"/>
            <a:ext cx="3302000" cy="471487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5" name="Szöveg helye 41">
            <a:extLst>
              <a:ext uri="{FF2B5EF4-FFF2-40B4-BE49-F238E27FC236}">
                <a16:creationId xmlns:a16="http://schemas.microsoft.com/office/drawing/2014/main" id="{347A973B-782B-4BAD-954E-A51793B810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6585" y="3668110"/>
            <a:ext cx="2656653" cy="52289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6" name="Szöveg helye 43">
            <a:extLst>
              <a:ext uri="{FF2B5EF4-FFF2-40B4-BE49-F238E27FC236}">
                <a16:creationId xmlns:a16="http://schemas.microsoft.com/office/drawing/2014/main" id="{02BD7E14-44F1-497D-85F1-837A83D823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27338" y="3089275"/>
            <a:ext cx="1974850" cy="52863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7" name="Szöveg helye 45">
            <a:extLst>
              <a:ext uri="{FF2B5EF4-FFF2-40B4-BE49-F238E27FC236}">
                <a16:creationId xmlns:a16="http://schemas.microsoft.com/office/drawing/2014/main" id="{56D7CAB7-9FE3-43DD-A9F9-984AD909248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57538" y="2534252"/>
            <a:ext cx="1314450" cy="490537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8" name="Szöveg helye 47">
            <a:extLst>
              <a:ext uri="{FF2B5EF4-FFF2-40B4-BE49-F238E27FC236}">
                <a16:creationId xmlns:a16="http://schemas.microsoft.com/office/drawing/2014/main" id="{9CA62EB6-6A3A-4C0D-B53E-CD73C24A3F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0361" y="1943100"/>
            <a:ext cx="609600" cy="49053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9" name="Szöveg helye 49">
            <a:extLst>
              <a:ext uri="{FF2B5EF4-FFF2-40B4-BE49-F238E27FC236}">
                <a16:creationId xmlns:a16="http://schemas.microsoft.com/office/drawing/2014/main" id="{101EF215-370B-4352-BD81-5B3961694EA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7754" y="1560915"/>
            <a:ext cx="372460" cy="263525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5129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C3004F6-430B-4804-95F6-58501E378B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Agenda </a:t>
            </a:r>
            <a:r>
              <a:rPr lang="hu-HU" dirty="0" err="1"/>
              <a:t>with</a:t>
            </a:r>
            <a:r>
              <a:rPr lang="hu-HU" dirty="0"/>
              <a:t> </a:t>
            </a:r>
            <a:r>
              <a:rPr lang="hu-HU" dirty="0" err="1"/>
              <a:t>times</a:t>
            </a:r>
            <a:endParaRPr lang="hu-HU" dirty="0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4428B87D-29A6-43C5-B7D4-BBD2299F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829B6959-4A66-4B40-9435-BF855C18B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Szöveg helye 26">
            <a:extLst>
              <a:ext uri="{FF2B5EF4-FFF2-40B4-BE49-F238E27FC236}">
                <a16:creationId xmlns:a16="http://schemas.microsoft.com/office/drawing/2014/main" id="{E639F8F3-A7F3-49E4-8E75-AAA5A62415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000" y="1314960"/>
            <a:ext cx="1257811" cy="348422"/>
          </a:xfrm>
          <a:solidFill>
            <a:srgbClr val="EA1C0A"/>
          </a:solidFill>
        </p:spPr>
        <p:txBody>
          <a:bodyPr lIns="72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121771F5-2D95-425B-A98C-17CA49A2C15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35811" y="1314960"/>
            <a:ext cx="2424807" cy="348422"/>
          </a:xfrm>
          <a:solidFill>
            <a:srgbClr val="B00402"/>
          </a:solidFill>
        </p:spPr>
        <p:txBody>
          <a:bodyPr lIns="72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4933E7B6-BEE0-4C52-B430-36A06F9BDF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0618" y="1314960"/>
            <a:ext cx="2424807" cy="348422"/>
          </a:xfrm>
          <a:solidFill>
            <a:srgbClr val="5CC1CB"/>
          </a:solidFill>
        </p:spPr>
        <p:txBody>
          <a:bodyPr lIns="72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11" name="Szöveg helye 26">
            <a:extLst>
              <a:ext uri="{FF2B5EF4-FFF2-40B4-BE49-F238E27FC236}">
                <a16:creationId xmlns:a16="http://schemas.microsoft.com/office/drawing/2014/main" id="{25FE3A3F-711C-4E93-B258-7BBD79C635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85424" y="1314960"/>
            <a:ext cx="2424807" cy="348422"/>
          </a:xfrm>
          <a:solidFill>
            <a:srgbClr val="E3E000"/>
          </a:solidFill>
        </p:spPr>
        <p:txBody>
          <a:bodyPr lIns="72000" anchor="ctr"/>
          <a:lstStyle>
            <a:lvl1pPr algn="l">
              <a:defRPr>
                <a:solidFill>
                  <a:srgbClr val="C00000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77F7A168-CDF8-4ADD-B01B-6C0A6E4864FD}"/>
              </a:ext>
            </a:extLst>
          </p:cNvPr>
          <p:cNvCxnSpPr>
            <a:cxnSpLocks/>
          </p:cNvCxnSpPr>
          <p:nvPr userDrawn="1"/>
        </p:nvCxnSpPr>
        <p:spPr>
          <a:xfrm>
            <a:off x="378000" y="2012599"/>
            <a:ext cx="85322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BFE22DA5-F1AD-472B-8DA9-FBBC159EF742}"/>
              </a:ext>
            </a:extLst>
          </p:cNvPr>
          <p:cNvCxnSpPr>
            <a:cxnSpLocks/>
          </p:cNvCxnSpPr>
          <p:nvPr userDrawn="1"/>
        </p:nvCxnSpPr>
        <p:spPr>
          <a:xfrm>
            <a:off x="378000" y="2379402"/>
            <a:ext cx="85322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Szöveg helye 26">
            <a:extLst>
              <a:ext uri="{FF2B5EF4-FFF2-40B4-BE49-F238E27FC236}">
                <a16:creationId xmlns:a16="http://schemas.microsoft.com/office/drawing/2014/main" id="{25B9FD2B-634F-4B48-908E-DF196F1B76C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995" y="2727824"/>
            <a:ext cx="1257816" cy="348422"/>
          </a:xfrm>
          <a:solidFill>
            <a:schemeClr val="bg1">
              <a:lumMod val="85000"/>
            </a:schemeClr>
          </a:solidFill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cxnSp>
        <p:nvCxnSpPr>
          <p:cNvPr id="22" name="Egyenes összekötő 21">
            <a:extLst>
              <a:ext uri="{FF2B5EF4-FFF2-40B4-BE49-F238E27FC236}">
                <a16:creationId xmlns:a16="http://schemas.microsoft.com/office/drawing/2014/main" id="{86B28531-D3DC-4E48-A478-2E94A263EEB5}"/>
              </a:ext>
            </a:extLst>
          </p:cNvPr>
          <p:cNvCxnSpPr>
            <a:cxnSpLocks/>
          </p:cNvCxnSpPr>
          <p:nvPr userDrawn="1"/>
        </p:nvCxnSpPr>
        <p:spPr>
          <a:xfrm>
            <a:off x="378000" y="3450251"/>
            <a:ext cx="85322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Egyenes összekötő 23">
            <a:extLst>
              <a:ext uri="{FF2B5EF4-FFF2-40B4-BE49-F238E27FC236}">
                <a16:creationId xmlns:a16="http://schemas.microsoft.com/office/drawing/2014/main" id="{27D47178-9F72-4A2B-A50D-B87201FF9AA8}"/>
              </a:ext>
            </a:extLst>
          </p:cNvPr>
          <p:cNvCxnSpPr>
            <a:cxnSpLocks/>
          </p:cNvCxnSpPr>
          <p:nvPr userDrawn="1"/>
        </p:nvCxnSpPr>
        <p:spPr>
          <a:xfrm>
            <a:off x="378000" y="3817478"/>
            <a:ext cx="85322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Szöveg helye 26">
            <a:extLst>
              <a:ext uri="{FF2B5EF4-FFF2-40B4-BE49-F238E27FC236}">
                <a16:creationId xmlns:a16="http://schemas.microsoft.com/office/drawing/2014/main" id="{72156D9C-5A83-41AB-9F69-A9227059599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7997" y="1658787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6" name="Szöveg helye 26">
            <a:extLst>
              <a:ext uri="{FF2B5EF4-FFF2-40B4-BE49-F238E27FC236}">
                <a16:creationId xmlns:a16="http://schemas.microsoft.com/office/drawing/2014/main" id="{9ACD088E-EF0D-434E-A3B5-7659AD79F77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7996" y="2023011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8CDD90B6-F67A-400E-8B68-423B9F9ECF2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8000" y="2383997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F4A4D199-CFEA-4441-BF15-F1C578A65A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3083025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201E0432-5AD3-4411-9631-FC0E74B4CA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78000" y="3450251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0" name="Szöveg helye 26">
            <a:extLst>
              <a:ext uri="{FF2B5EF4-FFF2-40B4-BE49-F238E27FC236}">
                <a16:creationId xmlns:a16="http://schemas.microsoft.com/office/drawing/2014/main" id="{EBD2BA99-6315-4880-BDFC-D116165CDCD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35811" y="1669767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1" name="Szöveg helye 26">
            <a:extLst>
              <a:ext uri="{FF2B5EF4-FFF2-40B4-BE49-F238E27FC236}">
                <a16:creationId xmlns:a16="http://schemas.microsoft.com/office/drawing/2014/main" id="{6613C5BE-FDA3-43B8-AC4C-6A58ACBCDCA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35811" y="2023011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2" name="Szöveg helye 26">
            <a:extLst>
              <a:ext uri="{FF2B5EF4-FFF2-40B4-BE49-F238E27FC236}">
                <a16:creationId xmlns:a16="http://schemas.microsoft.com/office/drawing/2014/main" id="{4E06031C-AB08-4D57-8A28-2A994DA66B6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32165" y="2379402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3" name="Szöveg helye 26">
            <a:extLst>
              <a:ext uri="{FF2B5EF4-FFF2-40B4-BE49-F238E27FC236}">
                <a16:creationId xmlns:a16="http://schemas.microsoft.com/office/drawing/2014/main" id="{62D0C1A3-F856-4DBF-BD7D-F15359A3C4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632164" y="2725201"/>
            <a:ext cx="7278067" cy="348422"/>
          </a:xfrm>
          <a:solidFill>
            <a:schemeClr val="bg1">
              <a:lumMod val="85000"/>
            </a:schemeClr>
          </a:solidFill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4" name="Szöveg helye 26">
            <a:extLst>
              <a:ext uri="{FF2B5EF4-FFF2-40B4-BE49-F238E27FC236}">
                <a16:creationId xmlns:a16="http://schemas.microsoft.com/office/drawing/2014/main" id="{7F876328-9439-474C-B30C-28B51589AE0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632165" y="3082424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5" name="Szöveg helye 26">
            <a:extLst>
              <a:ext uri="{FF2B5EF4-FFF2-40B4-BE49-F238E27FC236}">
                <a16:creationId xmlns:a16="http://schemas.microsoft.com/office/drawing/2014/main" id="{545D72DF-9F23-466D-B183-7A6CC3859DE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35811" y="3455438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6" name="Szöveg helye 26">
            <a:extLst>
              <a:ext uri="{FF2B5EF4-FFF2-40B4-BE49-F238E27FC236}">
                <a16:creationId xmlns:a16="http://schemas.microsoft.com/office/drawing/2014/main" id="{3D41C6D7-4744-4FC2-BFB8-B9E11697405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064767" y="1667144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7" name="Szöveg helye 26">
            <a:extLst>
              <a:ext uri="{FF2B5EF4-FFF2-40B4-BE49-F238E27FC236}">
                <a16:creationId xmlns:a16="http://schemas.microsoft.com/office/drawing/2014/main" id="{BEDFDE38-3F33-4F8A-8899-A934C9DCFC2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064767" y="2020388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8" name="Szöveg helye 26">
            <a:extLst>
              <a:ext uri="{FF2B5EF4-FFF2-40B4-BE49-F238E27FC236}">
                <a16:creationId xmlns:a16="http://schemas.microsoft.com/office/drawing/2014/main" id="{C5201790-79AF-45D3-B1E5-CD6AFFA34CB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061121" y="2376779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39" name="Szöveg helye 26">
            <a:extLst>
              <a:ext uri="{FF2B5EF4-FFF2-40B4-BE49-F238E27FC236}">
                <a16:creationId xmlns:a16="http://schemas.microsoft.com/office/drawing/2014/main" id="{C1588621-F790-4D15-820B-D54EE09C606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059838" y="3081220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0" name="Szöveg helye 26">
            <a:extLst>
              <a:ext uri="{FF2B5EF4-FFF2-40B4-BE49-F238E27FC236}">
                <a16:creationId xmlns:a16="http://schemas.microsoft.com/office/drawing/2014/main" id="{B19AEA6C-EFC5-4B06-8C31-A4EA4B2FBB1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064767" y="3459060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1" name="Szöveg helye 26">
            <a:extLst>
              <a:ext uri="{FF2B5EF4-FFF2-40B4-BE49-F238E27FC236}">
                <a16:creationId xmlns:a16="http://schemas.microsoft.com/office/drawing/2014/main" id="{B2951DDE-34D0-43EC-A8BB-F8A29D4E070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064767" y="3831097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2" name="Szöveg helye 26">
            <a:extLst>
              <a:ext uri="{FF2B5EF4-FFF2-40B4-BE49-F238E27FC236}">
                <a16:creationId xmlns:a16="http://schemas.microsoft.com/office/drawing/2014/main" id="{09147940-D5CD-48FF-82E6-116980B8D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78000" y="3821859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3" name="Szöveg helye 26">
            <a:extLst>
              <a:ext uri="{FF2B5EF4-FFF2-40B4-BE49-F238E27FC236}">
                <a16:creationId xmlns:a16="http://schemas.microsoft.com/office/drawing/2014/main" id="{41599EAC-D8C8-4001-8511-6A6E3DB7879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35811" y="3827046"/>
            <a:ext cx="1257811" cy="348422"/>
          </a:xfrm>
          <a:noFill/>
        </p:spPr>
        <p:txBody>
          <a:bodyPr lIns="72000" anchor="ctr"/>
          <a:lstStyle>
            <a:lvl1pPr algn="l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4" name="Szöveg helye 26">
            <a:extLst>
              <a:ext uri="{FF2B5EF4-FFF2-40B4-BE49-F238E27FC236}">
                <a16:creationId xmlns:a16="http://schemas.microsoft.com/office/drawing/2014/main" id="{424273AE-FD38-4C26-ABC5-231889C57AF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493723" y="1668625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5" name="Szöveg helye 26">
            <a:extLst>
              <a:ext uri="{FF2B5EF4-FFF2-40B4-BE49-F238E27FC236}">
                <a16:creationId xmlns:a16="http://schemas.microsoft.com/office/drawing/2014/main" id="{6AA58691-8DD9-4FD4-B503-54C4E68898B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93723" y="2021869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6" name="Szöveg helye 26">
            <a:extLst>
              <a:ext uri="{FF2B5EF4-FFF2-40B4-BE49-F238E27FC236}">
                <a16:creationId xmlns:a16="http://schemas.microsoft.com/office/drawing/2014/main" id="{F3D0CC40-5365-42BF-8F5E-EB8C6EC79C2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90077" y="2378260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7" name="Szöveg helye 26">
            <a:extLst>
              <a:ext uri="{FF2B5EF4-FFF2-40B4-BE49-F238E27FC236}">
                <a16:creationId xmlns:a16="http://schemas.microsoft.com/office/drawing/2014/main" id="{DEEC4808-B2E8-4B55-9AFD-81D758EC85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488794" y="3082701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8" name="Szöveg helye 26">
            <a:extLst>
              <a:ext uri="{FF2B5EF4-FFF2-40B4-BE49-F238E27FC236}">
                <a16:creationId xmlns:a16="http://schemas.microsoft.com/office/drawing/2014/main" id="{93DE4921-D85C-461C-8003-C43F4F613DB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493723" y="3460541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  <p:sp>
        <p:nvSpPr>
          <p:cNvPr id="49" name="Szöveg helye 26">
            <a:extLst>
              <a:ext uri="{FF2B5EF4-FFF2-40B4-BE49-F238E27FC236}">
                <a16:creationId xmlns:a16="http://schemas.microsoft.com/office/drawing/2014/main" id="{491E7E1A-5DDF-4337-89AE-D613CE2B08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493723" y="3832578"/>
            <a:ext cx="1257811" cy="348422"/>
          </a:xfrm>
          <a:noFill/>
        </p:spPr>
        <p:txBody>
          <a:bodyPr lIns="72000" anchor="ctr"/>
          <a:lstStyle>
            <a:lvl1pPr marL="285750" indent="-285750" algn="l">
              <a:buClr>
                <a:srgbClr val="EA1C0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Kick-off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3869327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-up/Top-d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áromszög 10">
            <a:extLst>
              <a:ext uri="{FF2B5EF4-FFF2-40B4-BE49-F238E27FC236}">
                <a16:creationId xmlns:a16="http://schemas.microsoft.com/office/drawing/2014/main" id="{680DDA18-513E-45CB-8165-F2DC119EB7B8}"/>
              </a:ext>
            </a:extLst>
          </p:cNvPr>
          <p:cNvSpPr/>
          <p:nvPr userDrawn="1"/>
        </p:nvSpPr>
        <p:spPr>
          <a:xfrm>
            <a:off x="3958127" y="1465694"/>
            <a:ext cx="1168072" cy="926762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01D0CC3B-1026-4ECC-809C-F864DEA22E02}"/>
              </a:ext>
            </a:extLst>
          </p:cNvPr>
          <p:cNvSpPr/>
          <p:nvPr userDrawn="1"/>
        </p:nvSpPr>
        <p:spPr>
          <a:xfrm>
            <a:off x="3279643" y="2527989"/>
            <a:ext cx="2525040" cy="996119"/>
          </a:xfrm>
          <a:prstGeom prst="trapezoid">
            <a:avLst>
              <a:gd name="adj" fmla="val 62046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F5C236C3-5B3A-4C24-84C7-65D7595D47EC}"/>
              </a:ext>
            </a:extLst>
          </p:cNvPr>
          <p:cNvSpPr/>
          <p:nvPr userDrawn="1"/>
        </p:nvSpPr>
        <p:spPr>
          <a:xfrm>
            <a:off x="2606624" y="3641818"/>
            <a:ext cx="3912371" cy="1055984"/>
          </a:xfrm>
          <a:prstGeom prst="trapezoid">
            <a:avLst>
              <a:gd name="adj" fmla="val 6204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Szöveg helye 26">
            <a:extLst>
              <a:ext uri="{FF2B5EF4-FFF2-40B4-BE49-F238E27FC236}">
                <a16:creationId xmlns:a16="http://schemas.microsoft.com/office/drawing/2014/main" id="{401EF2E1-5422-48D5-AAE8-6DEF86864A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73534" y="3830878"/>
            <a:ext cx="2212166" cy="67786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dolores</a:t>
            </a:r>
            <a:r>
              <a:rPr lang="hu-HU" dirty="0"/>
              <a:t> </a:t>
            </a:r>
            <a:r>
              <a:rPr lang="hu-HU" dirty="0" err="1"/>
              <a:t>idis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rendoriment</a:t>
            </a:r>
            <a:endParaRPr lang="hu-HU" dirty="0"/>
          </a:p>
        </p:txBody>
      </p:sp>
      <p:sp>
        <p:nvSpPr>
          <p:cNvPr id="28" name="Szöveg helye 26">
            <a:extLst>
              <a:ext uri="{FF2B5EF4-FFF2-40B4-BE49-F238E27FC236}">
                <a16:creationId xmlns:a16="http://schemas.microsoft.com/office/drawing/2014/main" id="{DEBC016A-F0FB-4625-A27D-15A2FBE3B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9630" y="2560497"/>
            <a:ext cx="1772360" cy="933732"/>
          </a:xfrm>
        </p:spPr>
        <p:txBody>
          <a:bodyPr anchor="ctr"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29" name="Szöveg helye 26">
            <a:extLst>
              <a:ext uri="{FF2B5EF4-FFF2-40B4-BE49-F238E27FC236}">
                <a16:creationId xmlns:a16="http://schemas.microsoft.com/office/drawing/2014/main" id="{BAA48A23-8415-4C67-80E2-6870352C50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3632" y="1953894"/>
            <a:ext cx="512262" cy="34745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B29425E6-0720-4F2F-A378-52E167B70785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Bottom-up</a:t>
            </a:r>
            <a:r>
              <a:rPr lang="hu-HU" dirty="0"/>
              <a:t>/Top-down</a:t>
            </a:r>
            <a:endParaRPr lang="en-GB" dirty="0"/>
          </a:p>
        </p:txBody>
      </p:sp>
      <p:sp>
        <p:nvSpPr>
          <p:cNvPr id="39" name="Fußzeilenplatzhalter 6">
            <a:extLst>
              <a:ext uri="{FF2B5EF4-FFF2-40B4-BE49-F238E27FC236}">
                <a16:creationId xmlns:a16="http://schemas.microsoft.com/office/drawing/2014/main" id="{BB9CD44B-161E-4483-B7DF-001F4AAD5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2" name="Szöveg helye 8">
            <a:extLst>
              <a:ext uri="{FF2B5EF4-FFF2-40B4-BE49-F238E27FC236}">
                <a16:creationId xmlns:a16="http://schemas.microsoft.com/office/drawing/2014/main" id="{F57E1119-D260-4E4D-8E87-E53A55C87B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0075" y="1465694"/>
            <a:ext cx="2095500" cy="2314575"/>
          </a:xfrm>
          <a:solidFill>
            <a:srgbClr val="5CC1CB"/>
          </a:solidFill>
        </p:spPr>
        <p:txBody>
          <a:bodyPr lIns="18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hance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23" name="Háromszög 22">
            <a:extLst>
              <a:ext uri="{FF2B5EF4-FFF2-40B4-BE49-F238E27FC236}">
                <a16:creationId xmlns:a16="http://schemas.microsoft.com/office/drawing/2014/main" id="{AE6192DD-5D88-4091-98C6-A5570563EA33}"/>
              </a:ext>
            </a:extLst>
          </p:cNvPr>
          <p:cNvSpPr/>
          <p:nvPr userDrawn="1"/>
        </p:nvSpPr>
        <p:spPr>
          <a:xfrm rot="10800000">
            <a:off x="1178519" y="3780269"/>
            <a:ext cx="398612" cy="210948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2" name="Szöveg helye 8">
            <a:extLst>
              <a:ext uri="{FF2B5EF4-FFF2-40B4-BE49-F238E27FC236}">
                <a16:creationId xmlns:a16="http://schemas.microsoft.com/office/drawing/2014/main" id="{9F063A11-C48F-4F31-9CB8-A90F6B973A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06362" y="2383227"/>
            <a:ext cx="2095500" cy="2314575"/>
          </a:xfrm>
          <a:solidFill>
            <a:srgbClr val="5CC1CB"/>
          </a:solidFill>
        </p:spPr>
        <p:txBody>
          <a:bodyPr lIns="18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hance</a:t>
            </a:r>
            <a:endParaRPr lang="hu-HU" dirty="0"/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37" name="Háromszög 36">
            <a:extLst>
              <a:ext uri="{FF2B5EF4-FFF2-40B4-BE49-F238E27FC236}">
                <a16:creationId xmlns:a16="http://schemas.microsoft.com/office/drawing/2014/main" id="{A5738610-9DAE-4127-BD9F-7C171EBCB754}"/>
              </a:ext>
            </a:extLst>
          </p:cNvPr>
          <p:cNvSpPr/>
          <p:nvPr userDrawn="1"/>
        </p:nvSpPr>
        <p:spPr>
          <a:xfrm>
            <a:off x="7660420" y="2197081"/>
            <a:ext cx="398612" cy="210948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38063772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-up/top-down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888F9D0-C040-4F2A-A984-97B4AA3CA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Bottom-up</a:t>
            </a:r>
            <a:r>
              <a:rPr lang="hu-HU" dirty="0"/>
              <a:t>/Top-down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2DAF852E-0E5B-460D-93B0-26B176131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F8A09A1D-1526-426E-89B2-686D4B463DDD}"/>
              </a:ext>
            </a:extLst>
          </p:cNvPr>
          <p:cNvSpPr/>
          <p:nvPr userDrawn="1"/>
        </p:nvSpPr>
        <p:spPr>
          <a:xfrm>
            <a:off x="3958127" y="1465694"/>
            <a:ext cx="1168072" cy="926762"/>
          </a:xfrm>
          <a:prstGeom prst="triangle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17191936-8912-407C-A724-03B81F0F56F0}"/>
              </a:ext>
            </a:extLst>
          </p:cNvPr>
          <p:cNvSpPr/>
          <p:nvPr userDrawn="1"/>
        </p:nvSpPr>
        <p:spPr>
          <a:xfrm>
            <a:off x="3279643" y="2527989"/>
            <a:ext cx="2525040" cy="996119"/>
          </a:xfrm>
          <a:prstGeom prst="trapezoid">
            <a:avLst>
              <a:gd name="adj" fmla="val 62046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4FE7E52A-751E-4C4D-B474-D44FE26FD208}"/>
              </a:ext>
            </a:extLst>
          </p:cNvPr>
          <p:cNvSpPr/>
          <p:nvPr userDrawn="1"/>
        </p:nvSpPr>
        <p:spPr>
          <a:xfrm>
            <a:off x="2606624" y="3641818"/>
            <a:ext cx="3912371" cy="1055984"/>
          </a:xfrm>
          <a:prstGeom prst="trapezoid">
            <a:avLst>
              <a:gd name="adj" fmla="val 6204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Szöveg helye 26">
            <a:extLst>
              <a:ext uri="{FF2B5EF4-FFF2-40B4-BE49-F238E27FC236}">
                <a16:creationId xmlns:a16="http://schemas.microsoft.com/office/drawing/2014/main" id="{583565C3-1D76-4A0A-8744-D60A5FEF8D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73534" y="3830878"/>
            <a:ext cx="2212166" cy="677863"/>
          </a:xfrm>
        </p:spPr>
        <p:txBody>
          <a:bodyPr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dolores</a:t>
            </a:r>
            <a:r>
              <a:rPr lang="hu-HU" dirty="0"/>
              <a:t> </a:t>
            </a:r>
            <a:r>
              <a:rPr lang="hu-HU" dirty="0" err="1"/>
              <a:t>idis</a:t>
            </a:r>
            <a:r>
              <a:rPr lang="hu-HU" dirty="0"/>
              <a:t> </a:t>
            </a:r>
          </a:p>
          <a:p>
            <a:pPr lvl="0"/>
            <a:r>
              <a:rPr lang="hu-HU" dirty="0" err="1"/>
              <a:t>rendoriment</a:t>
            </a:r>
            <a:endParaRPr lang="hu-HU" dirty="0"/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EF1531CF-BA00-44AD-B0A8-2B308A35F1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9630" y="2560497"/>
            <a:ext cx="1772360" cy="933732"/>
          </a:xfrm>
        </p:spPr>
        <p:txBody>
          <a:bodyPr anchor="ctr"/>
          <a:lstStyle>
            <a:lvl1pPr algn="ctr"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1" name="Szöveg helye 26">
            <a:extLst>
              <a:ext uri="{FF2B5EF4-FFF2-40B4-BE49-F238E27FC236}">
                <a16:creationId xmlns:a16="http://schemas.microsoft.com/office/drawing/2014/main" id="{5AC251F8-CE8B-48DF-8C1D-D47F7660DE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3632" y="1953894"/>
            <a:ext cx="512262" cy="347454"/>
          </a:xfrm>
        </p:spPr>
        <p:txBody>
          <a:bodyPr/>
          <a:lstStyle>
            <a:lvl1pPr algn="ctr">
              <a:defRPr sz="1400"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12" name="Szöveg helye 8">
            <a:extLst>
              <a:ext uri="{FF2B5EF4-FFF2-40B4-BE49-F238E27FC236}">
                <a16:creationId xmlns:a16="http://schemas.microsoft.com/office/drawing/2014/main" id="{FF62E3CE-E43D-4750-9580-0B81859847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0075" y="1465694"/>
            <a:ext cx="2095500" cy="2314575"/>
          </a:xfrm>
          <a:solidFill>
            <a:srgbClr val="5CC1CB"/>
          </a:solidFill>
        </p:spPr>
        <p:txBody>
          <a:bodyPr lIns="180000" tIns="18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hance</a:t>
            </a:r>
            <a:endParaRPr lang="hu-HU" dirty="0"/>
          </a:p>
        </p:txBody>
      </p:sp>
      <p:sp>
        <p:nvSpPr>
          <p:cNvPr id="13" name="Háromszög 12">
            <a:extLst>
              <a:ext uri="{FF2B5EF4-FFF2-40B4-BE49-F238E27FC236}">
                <a16:creationId xmlns:a16="http://schemas.microsoft.com/office/drawing/2014/main" id="{C33BAA18-44D6-4ADD-824F-9BE9E39C7043}"/>
              </a:ext>
            </a:extLst>
          </p:cNvPr>
          <p:cNvSpPr/>
          <p:nvPr userDrawn="1"/>
        </p:nvSpPr>
        <p:spPr>
          <a:xfrm rot="10800000">
            <a:off x="1178519" y="3780269"/>
            <a:ext cx="398612" cy="210948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Szöveg helye 8">
            <a:extLst>
              <a:ext uri="{FF2B5EF4-FFF2-40B4-BE49-F238E27FC236}">
                <a16:creationId xmlns:a16="http://schemas.microsoft.com/office/drawing/2014/main" id="{86F6D474-28AD-4C88-BFA1-C293602DB2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06362" y="2383227"/>
            <a:ext cx="2095500" cy="2314575"/>
          </a:xfrm>
          <a:solidFill>
            <a:srgbClr val="5CC1CB"/>
          </a:solidFill>
        </p:spPr>
        <p:txBody>
          <a:bodyPr lIns="180000" tIns="720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Chance</a:t>
            </a:r>
            <a:endParaRPr lang="hu-HU" dirty="0"/>
          </a:p>
        </p:txBody>
      </p:sp>
      <p:sp>
        <p:nvSpPr>
          <p:cNvPr id="15" name="Háromszög 14">
            <a:extLst>
              <a:ext uri="{FF2B5EF4-FFF2-40B4-BE49-F238E27FC236}">
                <a16:creationId xmlns:a16="http://schemas.microsoft.com/office/drawing/2014/main" id="{3E82FC37-1F53-452C-8EA3-279AAD40946D}"/>
              </a:ext>
            </a:extLst>
          </p:cNvPr>
          <p:cNvSpPr/>
          <p:nvPr userDrawn="1"/>
        </p:nvSpPr>
        <p:spPr>
          <a:xfrm>
            <a:off x="7660420" y="2197081"/>
            <a:ext cx="398612" cy="210948"/>
          </a:xfrm>
          <a:prstGeom prst="triangle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6" name="Szöveg helye 13">
            <a:extLst>
              <a:ext uri="{FF2B5EF4-FFF2-40B4-BE49-F238E27FC236}">
                <a16:creationId xmlns:a16="http://schemas.microsoft.com/office/drawing/2014/main" id="{93456A6E-4F5E-460E-8EBB-0B3CE1B211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32" y="2034549"/>
            <a:ext cx="2097343" cy="1745720"/>
          </a:xfrm>
        </p:spPr>
        <p:txBody>
          <a:bodyPr lIns="21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17" name="Szöveg helye 13">
            <a:extLst>
              <a:ext uri="{FF2B5EF4-FFF2-40B4-BE49-F238E27FC236}">
                <a16:creationId xmlns:a16="http://schemas.microsoft.com/office/drawing/2014/main" id="{F909A970-3EA5-4669-BDE9-36E60ED5DB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06362" y="3524108"/>
            <a:ext cx="2097343" cy="1172282"/>
          </a:xfrm>
        </p:spPr>
        <p:txBody>
          <a:bodyPr lIns="21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30222479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/Status up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5BE4432-9C78-4A3B-A99A-C64B1065C1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Reporting</a:t>
            </a:r>
            <a:r>
              <a:rPr lang="hu-HU" dirty="0"/>
              <a:t>/Status updat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CFB98540-D530-42B7-B4BD-CBDFD2A28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E72C0-55A2-4B3E-AF91-3EECCA5EEF99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1B9EA0EF-DDA1-4007-873A-62040F567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25FD3C97-3CC4-4ABC-B117-420DA16F8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63726322-50A7-4E70-BCDF-787342FDD2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594" y="1012324"/>
            <a:ext cx="208109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Description</a:t>
            </a:r>
            <a:r>
              <a:rPr lang="hu-HU" dirty="0"/>
              <a:t> of </a:t>
            </a:r>
            <a:r>
              <a:rPr lang="hu-HU" dirty="0" err="1"/>
              <a:t>task</a:t>
            </a:r>
            <a:endParaRPr lang="hu-HU" dirty="0"/>
          </a:p>
        </p:txBody>
      </p:sp>
      <p:sp>
        <p:nvSpPr>
          <p:cNvPr id="7" name="Szöveg helye 5">
            <a:extLst>
              <a:ext uri="{FF2B5EF4-FFF2-40B4-BE49-F238E27FC236}">
                <a16:creationId xmlns:a16="http://schemas.microsoft.com/office/drawing/2014/main" id="{454918DD-7B5D-4613-97F5-46296D427F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732" y="3534106"/>
            <a:ext cx="1306800" cy="419431"/>
          </a:xfrm>
          <a:solidFill>
            <a:srgbClr val="E3E000"/>
          </a:solidFill>
        </p:spPr>
        <p:txBody>
          <a:bodyPr lIns="72000" tIns="72000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8" name="Szöveg helye 16">
            <a:extLst>
              <a:ext uri="{FF2B5EF4-FFF2-40B4-BE49-F238E27FC236}">
                <a16:creationId xmlns:a16="http://schemas.microsoft.com/office/drawing/2014/main" id="{2BCAB265-2D44-4C98-A748-B309E37842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04910" y="1431755"/>
            <a:ext cx="2070774" cy="913025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</p:txBody>
      </p:sp>
      <p:sp>
        <p:nvSpPr>
          <p:cNvPr id="9" name="Szöveg helye 16">
            <a:extLst>
              <a:ext uri="{FF2B5EF4-FFF2-40B4-BE49-F238E27FC236}">
                <a16:creationId xmlns:a16="http://schemas.microsoft.com/office/drawing/2014/main" id="{4177B5EC-1C82-4501-B06D-D44E16E9C0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7999" y="3953537"/>
            <a:ext cx="1755602" cy="708463"/>
          </a:xfrm>
        </p:spPr>
        <p:txBody>
          <a:bodyPr lIns="0" anchor="b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hu-HU" dirty="0"/>
              <a:t>(New </a:t>
            </a:r>
            <a:r>
              <a:rPr lang="hu-HU" dirty="0" err="1"/>
              <a:t>moon</a:t>
            </a:r>
            <a:r>
              <a:rPr lang="hu-HU" dirty="0"/>
              <a:t> = </a:t>
            </a:r>
            <a:r>
              <a:rPr lang="hu-HU" dirty="0" err="1"/>
              <a:t>low</a:t>
            </a:r>
            <a:r>
              <a:rPr lang="hu-HU" dirty="0"/>
              <a:t>;</a:t>
            </a:r>
          </a:p>
          <a:p>
            <a:pPr lvl="0"/>
            <a:r>
              <a:rPr lang="hu-HU" dirty="0" err="1"/>
              <a:t>Full</a:t>
            </a:r>
            <a:r>
              <a:rPr lang="hu-HU" dirty="0"/>
              <a:t> </a:t>
            </a:r>
            <a:r>
              <a:rPr lang="hu-HU" dirty="0" err="1"/>
              <a:t>moon</a:t>
            </a:r>
            <a:r>
              <a:rPr lang="hu-HU" dirty="0"/>
              <a:t> = </a:t>
            </a:r>
            <a:r>
              <a:rPr lang="hu-HU" dirty="0" err="1"/>
              <a:t>high</a:t>
            </a:r>
            <a:r>
              <a:rPr lang="hu-HU" dirty="0"/>
              <a:t>)</a:t>
            </a:r>
          </a:p>
        </p:txBody>
      </p:sp>
      <p:sp>
        <p:nvSpPr>
          <p:cNvPr id="10" name="Szöveg helye 5">
            <a:extLst>
              <a:ext uri="{FF2B5EF4-FFF2-40B4-BE49-F238E27FC236}">
                <a16:creationId xmlns:a16="http://schemas.microsoft.com/office/drawing/2014/main" id="{B1E91550-EACE-4055-8892-E2517A06CA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732" y="2693604"/>
            <a:ext cx="1306800" cy="419431"/>
          </a:xfrm>
          <a:solidFill>
            <a:srgbClr val="EA1C0A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11" name="Szöveg helye 5">
            <a:extLst>
              <a:ext uri="{FF2B5EF4-FFF2-40B4-BE49-F238E27FC236}">
                <a16:creationId xmlns:a16="http://schemas.microsoft.com/office/drawing/2014/main" id="{17612CCE-4C0A-42CA-AB04-78F57F95F5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732" y="1852007"/>
            <a:ext cx="1306800" cy="419431"/>
          </a:xfrm>
          <a:solidFill>
            <a:srgbClr val="EA1C0A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pic>
        <p:nvPicPr>
          <p:cNvPr id="12" name="Kép 11">
            <a:extLst>
              <a:ext uri="{FF2B5EF4-FFF2-40B4-BE49-F238E27FC236}">
                <a16:creationId xmlns:a16="http://schemas.microsoft.com/office/drawing/2014/main" id="{3FCE1F2F-D1CB-4C6F-8C4D-DCE32B7D24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07" y="4083174"/>
            <a:ext cx="549951" cy="185652"/>
          </a:xfrm>
          <a:prstGeom prst="rect">
            <a:avLst/>
          </a:prstGeom>
        </p:spPr>
      </p:pic>
      <p:sp>
        <p:nvSpPr>
          <p:cNvPr id="13" name="Szöveg helye 5">
            <a:extLst>
              <a:ext uri="{FF2B5EF4-FFF2-40B4-BE49-F238E27FC236}">
                <a16:creationId xmlns:a16="http://schemas.microsoft.com/office/drawing/2014/main" id="{E29BD87D-14B4-4ABF-A3D3-63475860A3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8732" y="1012325"/>
            <a:ext cx="1306800" cy="419431"/>
          </a:xfrm>
          <a:solidFill>
            <a:srgbClr val="EA1C0A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14" name="Szöveg helye 16">
            <a:extLst>
              <a:ext uri="{FF2B5EF4-FFF2-40B4-BE49-F238E27FC236}">
                <a16:creationId xmlns:a16="http://schemas.microsoft.com/office/drawing/2014/main" id="{CE7DCF62-D22C-4412-8235-CC30C68232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8732" y="3130422"/>
            <a:ext cx="1182787" cy="384790"/>
          </a:xfrm>
        </p:spPr>
        <p:txBody>
          <a:bodyPr lIns="0" anchor="ctr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latin typeface="+mj-lt"/>
              </a:defRPr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15" name="Szöveg helye 16">
            <a:extLst>
              <a:ext uri="{FF2B5EF4-FFF2-40B4-BE49-F238E27FC236}">
                <a16:creationId xmlns:a16="http://schemas.microsoft.com/office/drawing/2014/main" id="{F0F8DF28-8A29-4ED3-9469-07F5190EE0D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8732" y="2289920"/>
            <a:ext cx="1182787" cy="384790"/>
          </a:xfrm>
        </p:spPr>
        <p:txBody>
          <a:bodyPr lIns="0" anchor="ctr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latin typeface="+mj-lt"/>
              </a:defRPr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16" name="Szöveg helye 16">
            <a:extLst>
              <a:ext uri="{FF2B5EF4-FFF2-40B4-BE49-F238E27FC236}">
                <a16:creationId xmlns:a16="http://schemas.microsoft.com/office/drawing/2014/main" id="{2CCDFEF4-47BD-4F0C-ABF8-58DE81046B8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8732" y="1458597"/>
            <a:ext cx="1182787" cy="384790"/>
          </a:xfrm>
        </p:spPr>
        <p:txBody>
          <a:bodyPr lIns="0" anchor="ctr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latin typeface="+mj-lt"/>
              </a:defRPr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17" name="Szöveg helye 5">
            <a:extLst>
              <a:ext uri="{FF2B5EF4-FFF2-40B4-BE49-F238E27FC236}">
                <a16:creationId xmlns:a16="http://schemas.microsoft.com/office/drawing/2014/main" id="{1C3A54DD-CB16-4B66-BD0E-1682BC90170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86663" y="1016987"/>
            <a:ext cx="1306800" cy="419431"/>
          </a:xfrm>
          <a:solidFill>
            <a:srgbClr val="B00402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18" name="Szöveg helye 16">
            <a:extLst>
              <a:ext uri="{FF2B5EF4-FFF2-40B4-BE49-F238E27FC236}">
                <a16:creationId xmlns:a16="http://schemas.microsoft.com/office/drawing/2014/main" id="{5DF6752A-0699-4E4D-B8AF-9C80CE768CA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86663" y="1458597"/>
            <a:ext cx="1182787" cy="384790"/>
          </a:xfrm>
        </p:spPr>
        <p:txBody>
          <a:bodyPr lIns="0" anchor="ctr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latin typeface="+mj-lt"/>
              </a:defRPr>
            </a:lvl1pPr>
          </a:lstStyle>
          <a:p>
            <a:pPr lvl="0"/>
            <a:r>
              <a:rPr lang="hu-HU" dirty="0"/>
              <a:t>…</a:t>
            </a:r>
          </a:p>
        </p:txBody>
      </p:sp>
      <p:sp>
        <p:nvSpPr>
          <p:cNvPr id="19" name="Szöveg helye 5">
            <a:extLst>
              <a:ext uri="{FF2B5EF4-FFF2-40B4-BE49-F238E27FC236}">
                <a16:creationId xmlns:a16="http://schemas.microsoft.com/office/drawing/2014/main" id="{53FA427F-4BEF-487B-9F77-9E0D137E1D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86663" y="1857489"/>
            <a:ext cx="1306800" cy="419431"/>
          </a:xfrm>
          <a:solidFill>
            <a:srgbClr val="B00402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20" name="Szöveg helye 16">
            <a:extLst>
              <a:ext uri="{FF2B5EF4-FFF2-40B4-BE49-F238E27FC236}">
                <a16:creationId xmlns:a16="http://schemas.microsoft.com/office/drawing/2014/main" id="{8D69C6A2-3980-4A7A-BAF3-D4F0274EDDE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86663" y="2299099"/>
            <a:ext cx="1182787" cy="384790"/>
          </a:xfrm>
        </p:spPr>
        <p:txBody>
          <a:bodyPr lIns="0" anchor="ctr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>
                <a:latin typeface="+mj-lt"/>
              </a:defRPr>
            </a:lvl1pPr>
          </a:lstStyle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21" name="Szöveg helye 5">
            <a:extLst>
              <a:ext uri="{FF2B5EF4-FFF2-40B4-BE49-F238E27FC236}">
                <a16:creationId xmlns:a16="http://schemas.microsoft.com/office/drawing/2014/main" id="{E5205BF7-AFC2-42F4-A942-4B27AB7774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86663" y="2683889"/>
            <a:ext cx="130680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22" name="Szöveg helye 5">
            <a:extLst>
              <a:ext uri="{FF2B5EF4-FFF2-40B4-BE49-F238E27FC236}">
                <a16:creationId xmlns:a16="http://schemas.microsoft.com/office/drawing/2014/main" id="{9388E032-6ECE-49AF-B0DD-EE3D42F2A6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87131" y="1016987"/>
            <a:ext cx="208109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Description</a:t>
            </a:r>
            <a:r>
              <a:rPr lang="hu-HU" dirty="0"/>
              <a:t> of </a:t>
            </a:r>
            <a:r>
              <a:rPr lang="hu-HU" dirty="0" err="1"/>
              <a:t>task</a:t>
            </a:r>
            <a:endParaRPr lang="hu-HU" dirty="0"/>
          </a:p>
        </p:txBody>
      </p:sp>
      <p:sp>
        <p:nvSpPr>
          <p:cNvPr id="23" name="Szöveg helye 5">
            <a:extLst>
              <a:ext uri="{FF2B5EF4-FFF2-40B4-BE49-F238E27FC236}">
                <a16:creationId xmlns:a16="http://schemas.microsoft.com/office/drawing/2014/main" id="{53D27E1C-A8FD-4465-A635-D5EC61F1F4E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94594" y="2343808"/>
            <a:ext cx="208109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sp>
        <p:nvSpPr>
          <p:cNvPr id="24" name="Szöveg helye 5">
            <a:extLst>
              <a:ext uri="{FF2B5EF4-FFF2-40B4-BE49-F238E27FC236}">
                <a16:creationId xmlns:a16="http://schemas.microsoft.com/office/drawing/2014/main" id="{432E29F7-02F4-44E9-BA11-7797289FB3B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87131" y="2343807"/>
            <a:ext cx="208109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sp>
        <p:nvSpPr>
          <p:cNvPr id="25" name="Szöveg helye 5">
            <a:extLst>
              <a:ext uri="{FF2B5EF4-FFF2-40B4-BE49-F238E27FC236}">
                <a16:creationId xmlns:a16="http://schemas.microsoft.com/office/drawing/2014/main" id="{16D8340C-0E20-46D9-9EE0-508C9639976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594" y="3730200"/>
            <a:ext cx="208109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sp>
        <p:nvSpPr>
          <p:cNvPr id="26" name="Szöveg helye 16">
            <a:extLst>
              <a:ext uri="{FF2B5EF4-FFF2-40B4-BE49-F238E27FC236}">
                <a16:creationId xmlns:a16="http://schemas.microsoft.com/office/drawing/2014/main" id="{9B39C466-F405-4889-833F-DF9500B2ED6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87131" y="1431756"/>
            <a:ext cx="2070774" cy="913023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</p:txBody>
      </p:sp>
      <p:sp>
        <p:nvSpPr>
          <p:cNvPr id="27" name="Szöveg helye 16">
            <a:extLst>
              <a:ext uri="{FF2B5EF4-FFF2-40B4-BE49-F238E27FC236}">
                <a16:creationId xmlns:a16="http://schemas.microsoft.com/office/drawing/2014/main" id="{0865F75A-1C36-42AC-BC36-A53D89E666B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794594" y="2781593"/>
            <a:ext cx="2070774" cy="918049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</p:txBody>
      </p:sp>
      <p:sp>
        <p:nvSpPr>
          <p:cNvPr id="28" name="Szöveg helye 16">
            <a:extLst>
              <a:ext uri="{FF2B5EF4-FFF2-40B4-BE49-F238E27FC236}">
                <a16:creationId xmlns:a16="http://schemas.microsoft.com/office/drawing/2014/main" id="{79E905BE-4977-4AF1-B009-60DDA7705A9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87131" y="2781593"/>
            <a:ext cx="2070774" cy="918049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</p:txBody>
      </p:sp>
      <p:sp>
        <p:nvSpPr>
          <p:cNvPr id="29" name="Szöveg helye 5">
            <a:extLst>
              <a:ext uri="{FF2B5EF4-FFF2-40B4-BE49-F238E27FC236}">
                <a16:creationId xmlns:a16="http://schemas.microsoft.com/office/drawing/2014/main" id="{FE50F586-9B64-4D17-8892-2CCD089B83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76815" y="3730200"/>
            <a:ext cx="2081090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hu-HU" dirty="0"/>
          </a:p>
        </p:txBody>
      </p:sp>
      <p:sp>
        <p:nvSpPr>
          <p:cNvPr id="30" name="Szöveg helye 16">
            <a:extLst>
              <a:ext uri="{FF2B5EF4-FFF2-40B4-BE49-F238E27FC236}">
                <a16:creationId xmlns:a16="http://schemas.microsoft.com/office/drawing/2014/main" id="{E3D2D7C4-4217-47B8-ABC0-D66A0EC39BD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94594" y="4160141"/>
            <a:ext cx="2070774" cy="918049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</p:txBody>
      </p:sp>
      <p:sp>
        <p:nvSpPr>
          <p:cNvPr id="31" name="Szöveg helye 16">
            <a:extLst>
              <a:ext uri="{FF2B5EF4-FFF2-40B4-BE49-F238E27FC236}">
                <a16:creationId xmlns:a16="http://schemas.microsoft.com/office/drawing/2014/main" id="{FBED58B4-1C23-4787-850A-B9F8F05EB5E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87131" y="4156504"/>
            <a:ext cx="2070774" cy="918049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  <a:p>
            <a:pPr lvl="0"/>
            <a:endParaRPr lang="hu-HU" dirty="0"/>
          </a:p>
        </p:txBody>
      </p:sp>
      <p:grpSp>
        <p:nvGrpSpPr>
          <p:cNvPr id="32" name="Gruppieren 42">
            <a:extLst>
              <a:ext uri="{FF2B5EF4-FFF2-40B4-BE49-F238E27FC236}">
                <a16:creationId xmlns:a16="http://schemas.microsoft.com/office/drawing/2014/main" id="{6D56C238-CCE8-43E5-8A9A-0F206622B41F}"/>
              </a:ext>
            </a:extLst>
          </p:cNvPr>
          <p:cNvGrpSpPr/>
          <p:nvPr userDrawn="1"/>
        </p:nvGrpSpPr>
        <p:grpSpPr>
          <a:xfrm>
            <a:off x="2337210" y="3322371"/>
            <a:ext cx="177636" cy="423470"/>
            <a:chOff x="1992313" y="3567113"/>
            <a:chExt cx="177800" cy="423862"/>
          </a:xfrm>
        </p:grpSpPr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158FD28-21C5-4C9D-B9E4-641A2CC8A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2313" y="3567113"/>
              <a:ext cx="177800" cy="423862"/>
            </a:xfrm>
            <a:custGeom>
              <a:avLst/>
              <a:gdLst>
                <a:gd name="T0" fmla="*/ 155 w 198"/>
                <a:gd name="T1" fmla="*/ 469 h 469"/>
                <a:gd name="T2" fmla="*/ 43 w 198"/>
                <a:gd name="T3" fmla="*/ 469 h 469"/>
                <a:gd name="T4" fmla="*/ 0 w 198"/>
                <a:gd name="T5" fmla="*/ 426 h 469"/>
                <a:gd name="T6" fmla="*/ 0 w 198"/>
                <a:gd name="T7" fmla="*/ 42 h 469"/>
                <a:gd name="T8" fmla="*/ 43 w 198"/>
                <a:gd name="T9" fmla="*/ 0 h 469"/>
                <a:gd name="T10" fmla="*/ 155 w 198"/>
                <a:gd name="T11" fmla="*/ 0 h 469"/>
                <a:gd name="T12" fmla="*/ 198 w 198"/>
                <a:gd name="T13" fmla="*/ 42 h 469"/>
                <a:gd name="T14" fmla="*/ 198 w 198"/>
                <a:gd name="T15" fmla="*/ 426 h 469"/>
                <a:gd name="T16" fmla="*/ 155 w 198"/>
                <a:gd name="T17" fmla="*/ 469 h 469"/>
                <a:gd name="T18" fmla="*/ 43 w 198"/>
                <a:gd name="T19" fmla="*/ 18 h 469"/>
                <a:gd name="T20" fmla="*/ 18 w 198"/>
                <a:gd name="T21" fmla="*/ 42 h 469"/>
                <a:gd name="T22" fmla="*/ 18 w 198"/>
                <a:gd name="T23" fmla="*/ 426 h 469"/>
                <a:gd name="T24" fmla="*/ 43 w 198"/>
                <a:gd name="T25" fmla="*/ 451 h 469"/>
                <a:gd name="T26" fmla="*/ 155 w 198"/>
                <a:gd name="T27" fmla="*/ 451 h 469"/>
                <a:gd name="T28" fmla="*/ 180 w 198"/>
                <a:gd name="T29" fmla="*/ 426 h 469"/>
                <a:gd name="T30" fmla="*/ 180 w 198"/>
                <a:gd name="T31" fmla="*/ 42 h 469"/>
                <a:gd name="T32" fmla="*/ 155 w 198"/>
                <a:gd name="T33" fmla="*/ 18 h 469"/>
                <a:gd name="T34" fmla="*/ 43 w 198"/>
                <a:gd name="T35" fmla="*/ 1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469">
                  <a:moveTo>
                    <a:pt x="155" y="469"/>
                  </a:moveTo>
                  <a:cubicBezTo>
                    <a:pt x="43" y="469"/>
                    <a:pt x="43" y="469"/>
                    <a:pt x="43" y="469"/>
                  </a:cubicBezTo>
                  <a:cubicBezTo>
                    <a:pt x="19" y="469"/>
                    <a:pt x="0" y="450"/>
                    <a:pt x="0" y="42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78" y="0"/>
                    <a:pt x="198" y="19"/>
                    <a:pt x="198" y="42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198" y="450"/>
                    <a:pt x="178" y="469"/>
                    <a:pt x="155" y="469"/>
                  </a:cubicBezTo>
                  <a:close/>
                  <a:moveTo>
                    <a:pt x="43" y="18"/>
                  </a:moveTo>
                  <a:cubicBezTo>
                    <a:pt x="29" y="18"/>
                    <a:pt x="18" y="29"/>
                    <a:pt x="18" y="42"/>
                  </a:cubicBezTo>
                  <a:cubicBezTo>
                    <a:pt x="18" y="426"/>
                    <a:pt x="18" y="426"/>
                    <a:pt x="18" y="426"/>
                  </a:cubicBezTo>
                  <a:cubicBezTo>
                    <a:pt x="18" y="440"/>
                    <a:pt x="29" y="451"/>
                    <a:pt x="43" y="451"/>
                  </a:cubicBezTo>
                  <a:cubicBezTo>
                    <a:pt x="155" y="451"/>
                    <a:pt x="155" y="451"/>
                    <a:pt x="155" y="451"/>
                  </a:cubicBezTo>
                  <a:cubicBezTo>
                    <a:pt x="168" y="451"/>
                    <a:pt x="180" y="440"/>
                    <a:pt x="180" y="426"/>
                  </a:cubicBezTo>
                  <a:cubicBezTo>
                    <a:pt x="180" y="42"/>
                    <a:pt x="180" y="42"/>
                    <a:pt x="180" y="42"/>
                  </a:cubicBezTo>
                  <a:cubicBezTo>
                    <a:pt x="180" y="29"/>
                    <a:pt x="168" y="18"/>
                    <a:pt x="155" y="18"/>
                  </a:cubicBezTo>
                  <a:lnTo>
                    <a:pt x="43" y="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34" name="Oval 13">
              <a:extLst>
                <a:ext uri="{FF2B5EF4-FFF2-40B4-BE49-F238E27FC236}">
                  <a16:creationId xmlns:a16="http://schemas.microsoft.com/office/drawing/2014/main" id="{83B6B2AE-6C73-4D9F-AD01-57069D573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9619" y="3726657"/>
              <a:ext cx="103188" cy="1047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35" name="Oval 13">
              <a:extLst>
                <a:ext uri="{FF2B5EF4-FFF2-40B4-BE49-F238E27FC236}">
                  <a16:creationId xmlns:a16="http://schemas.microsoft.com/office/drawing/2014/main" id="{9FA02233-9734-4D13-B358-C4B6A63733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9619" y="3605213"/>
              <a:ext cx="103188" cy="104775"/>
            </a:xfrm>
            <a:prstGeom prst="ellipse">
              <a:avLst/>
            </a:prstGeom>
            <a:noFill/>
            <a:ln w="11430">
              <a:solidFill>
                <a:schemeClr val="accent1"/>
              </a:solidFill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36" name="Oval 13">
              <a:extLst>
                <a:ext uri="{FF2B5EF4-FFF2-40B4-BE49-F238E27FC236}">
                  <a16:creationId xmlns:a16="http://schemas.microsoft.com/office/drawing/2014/main" id="{1A971944-47DE-4D83-B84F-740789B1B1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9619" y="3848101"/>
              <a:ext cx="103188" cy="104775"/>
            </a:xfrm>
            <a:prstGeom prst="ellipse">
              <a:avLst/>
            </a:prstGeom>
            <a:noFill/>
            <a:ln w="11430">
              <a:solidFill>
                <a:schemeClr val="accent1"/>
              </a:solidFill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" name="Gruppieren 43">
            <a:extLst>
              <a:ext uri="{FF2B5EF4-FFF2-40B4-BE49-F238E27FC236}">
                <a16:creationId xmlns:a16="http://schemas.microsoft.com/office/drawing/2014/main" id="{0824EB1A-34CB-4A7F-9A08-0710B57732F9}"/>
              </a:ext>
            </a:extLst>
          </p:cNvPr>
          <p:cNvGrpSpPr/>
          <p:nvPr userDrawn="1"/>
        </p:nvGrpSpPr>
        <p:grpSpPr>
          <a:xfrm>
            <a:off x="2651244" y="3322371"/>
            <a:ext cx="177636" cy="423470"/>
            <a:chOff x="2306638" y="3567113"/>
            <a:chExt cx="177800" cy="423862"/>
          </a:xfrm>
        </p:grpSpPr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52424ADF-DBD1-41D5-A207-5CAC09779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6638" y="3567113"/>
              <a:ext cx="177800" cy="423862"/>
            </a:xfrm>
            <a:custGeom>
              <a:avLst/>
              <a:gdLst>
                <a:gd name="T0" fmla="*/ 154 w 197"/>
                <a:gd name="T1" fmla="*/ 469 h 469"/>
                <a:gd name="T2" fmla="*/ 42 w 197"/>
                <a:gd name="T3" fmla="*/ 469 h 469"/>
                <a:gd name="T4" fmla="*/ 0 w 197"/>
                <a:gd name="T5" fmla="*/ 426 h 469"/>
                <a:gd name="T6" fmla="*/ 0 w 197"/>
                <a:gd name="T7" fmla="*/ 42 h 469"/>
                <a:gd name="T8" fmla="*/ 42 w 197"/>
                <a:gd name="T9" fmla="*/ 0 h 469"/>
                <a:gd name="T10" fmla="*/ 154 w 197"/>
                <a:gd name="T11" fmla="*/ 0 h 469"/>
                <a:gd name="T12" fmla="*/ 197 w 197"/>
                <a:gd name="T13" fmla="*/ 42 h 469"/>
                <a:gd name="T14" fmla="*/ 197 w 197"/>
                <a:gd name="T15" fmla="*/ 426 h 469"/>
                <a:gd name="T16" fmla="*/ 154 w 197"/>
                <a:gd name="T17" fmla="*/ 469 h 469"/>
                <a:gd name="T18" fmla="*/ 42 w 197"/>
                <a:gd name="T19" fmla="*/ 18 h 469"/>
                <a:gd name="T20" fmla="*/ 18 w 197"/>
                <a:gd name="T21" fmla="*/ 42 h 469"/>
                <a:gd name="T22" fmla="*/ 18 w 197"/>
                <a:gd name="T23" fmla="*/ 426 h 469"/>
                <a:gd name="T24" fmla="*/ 42 w 197"/>
                <a:gd name="T25" fmla="*/ 451 h 469"/>
                <a:gd name="T26" fmla="*/ 154 w 197"/>
                <a:gd name="T27" fmla="*/ 451 h 469"/>
                <a:gd name="T28" fmla="*/ 179 w 197"/>
                <a:gd name="T29" fmla="*/ 426 h 469"/>
                <a:gd name="T30" fmla="*/ 179 w 197"/>
                <a:gd name="T31" fmla="*/ 42 h 469"/>
                <a:gd name="T32" fmla="*/ 154 w 197"/>
                <a:gd name="T33" fmla="*/ 18 h 469"/>
                <a:gd name="T34" fmla="*/ 42 w 197"/>
                <a:gd name="T35" fmla="*/ 1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7" h="469">
                  <a:moveTo>
                    <a:pt x="154" y="469"/>
                  </a:moveTo>
                  <a:cubicBezTo>
                    <a:pt x="42" y="469"/>
                    <a:pt x="42" y="469"/>
                    <a:pt x="42" y="469"/>
                  </a:cubicBezTo>
                  <a:cubicBezTo>
                    <a:pt x="19" y="469"/>
                    <a:pt x="0" y="450"/>
                    <a:pt x="0" y="42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78" y="0"/>
                    <a:pt x="197" y="19"/>
                    <a:pt x="197" y="42"/>
                  </a:cubicBezTo>
                  <a:cubicBezTo>
                    <a:pt x="197" y="426"/>
                    <a:pt x="197" y="426"/>
                    <a:pt x="197" y="426"/>
                  </a:cubicBezTo>
                  <a:cubicBezTo>
                    <a:pt x="197" y="450"/>
                    <a:pt x="178" y="469"/>
                    <a:pt x="154" y="469"/>
                  </a:cubicBezTo>
                  <a:close/>
                  <a:moveTo>
                    <a:pt x="42" y="18"/>
                  </a:moveTo>
                  <a:cubicBezTo>
                    <a:pt x="29" y="18"/>
                    <a:pt x="18" y="29"/>
                    <a:pt x="18" y="42"/>
                  </a:cubicBezTo>
                  <a:cubicBezTo>
                    <a:pt x="18" y="426"/>
                    <a:pt x="18" y="426"/>
                    <a:pt x="18" y="426"/>
                  </a:cubicBezTo>
                  <a:cubicBezTo>
                    <a:pt x="18" y="440"/>
                    <a:pt x="29" y="451"/>
                    <a:pt x="42" y="451"/>
                  </a:cubicBezTo>
                  <a:cubicBezTo>
                    <a:pt x="154" y="451"/>
                    <a:pt x="154" y="451"/>
                    <a:pt x="154" y="451"/>
                  </a:cubicBezTo>
                  <a:cubicBezTo>
                    <a:pt x="168" y="451"/>
                    <a:pt x="179" y="440"/>
                    <a:pt x="179" y="426"/>
                  </a:cubicBezTo>
                  <a:cubicBezTo>
                    <a:pt x="179" y="42"/>
                    <a:pt x="179" y="42"/>
                    <a:pt x="179" y="42"/>
                  </a:cubicBezTo>
                  <a:cubicBezTo>
                    <a:pt x="179" y="29"/>
                    <a:pt x="168" y="18"/>
                    <a:pt x="154" y="18"/>
                  </a:cubicBezTo>
                  <a:lnTo>
                    <a:pt x="42" y="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39" name="Oval 13">
              <a:extLst>
                <a:ext uri="{FF2B5EF4-FFF2-40B4-BE49-F238E27FC236}">
                  <a16:creationId xmlns:a16="http://schemas.microsoft.com/office/drawing/2014/main" id="{4C4B9F8E-86DF-4ECD-A7E3-9B2FE4C50B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3944" y="3726657"/>
              <a:ext cx="103188" cy="104775"/>
            </a:xfrm>
            <a:prstGeom prst="ellipse">
              <a:avLst/>
            </a:prstGeom>
            <a:noFill/>
            <a:ln w="11430">
              <a:solidFill>
                <a:schemeClr val="accent1"/>
              </a:solidFill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40" name="Oval 13">
              <a:extLst>
                <a:ext uri="{FF2B5EF4-FFF2-40B4-BE49-F238E27FC236}">
                  <a16:creationId xmlns:a16="http://schemas.microsoft.com/office/drawing/2014/main" id="{0940C3BF-2DF9-41FC-9B73-CCC7BCF19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3944" y="3605213"/>
              <a:ext cx="103188" cy="104775"/>
            </a:xfrm>
            <a:prstGeom prst="ellipse">
              <a:avLst/>
            </a:prstGeom>
            <a:solidFill>
              <a:schemeClr val="accent1"/>
            </a:solidFill>
            <a:ln w="11430"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41" name="Oval 13">
              <a:extLst>
                <a:ext uri="{FF2B5EF4-FFF2-40B4-BE49-F238E27FC236}">
                  <a16:creationId xmlns:a16="http://schemas.microsoft.com/office/drawing/2014/main" id="{FC15F78B-4062-49D1-A5E6-F93085B631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3944" y="3848101"/>
              <a:ext cx="103188" cy="104775"/>
            </a:xfrm>
            <a:prstGeom prst="ellipse">
              <a:avLst/>
            </a:prstGeom>
            <a:noFill/>
            <a:ln w="11430">
              <a:solidFill>
                <a:schemeClr val="accent1"/>
              </a:solidFill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2" name="Gruppieren 44">
            <a:extLst>
              <a:ext uri="{FF2B5EF4-FFF2-40B4-BE49-F238E27FC236}">
                <a16:creationId xmlns:a16="http://schemas.microsoft.com/office/drawing/2014/main" id="{F74C99E3-59FE-4037-B118-DEB5F7EE2ACB}"/>
              </a:ext>
            </a:extLst>
          </p:cNvPr>
          <p:cNvGrpSpPr/>
          <p:nvPr userDrawn="1"/>
        </p:nvGrpSpPr>
        <p:grpSpPr>
          <a:xfrm>
            <a:off x="2965279" y="3322371"/>
            <a:ext cx="177636" cy="423470"/>
            <a:chOff x="2620963" y="3567113"/>
            <a:chExt cx="177800" cy="423862"/>
          </a:xfrm>
        </p:grpSpPr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2EB16832-BDF3-4292-8AF0-84F3D1542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0963" y="3567113"/>
              <a:ext cx="177800" cy="423862"/>
            </a:xfrm>
            <a:custGeom>
              <a:avLst/>
              <a:gdLst>
                <a:gd name="T0" fmla="*/ 155 w 198"/>
                <a:gd name="T1" fmla="*/ 469 h 469"/>
                <a:gd name="T2" fmla="*/ 43 w 198"/>
                <a:gd name="T3" fmla="*/ 469 h 469"/>
                <a:gd name="T4" fmla="*/ 0 w 198"/>
                <a:gd name="T5" fmla="*/ 426 h 469"/>
                <a:gd name="T6" fmla="*/ 0 w 198"/>
                <a:gd name="T7" fmla="*/ 42 h 469"/>
                <a:gd name="T8" fmla="*/ 43 w 198"/>
                <a:gd name="T9" fmla="*/ 0 h 469"/>
                <a:gd name="T10" fmla="*/ 155 w 198"/>
                <a:gd name="T11" fmla="*/ 0 h 469"/>
                <a:gd name="T12" fmla="*/ 198 w 198"/>
                <a:gd name="T13" fmla="*/ 42 h 469"/>
                <a:gd name="T14" fmla="*/ 198 w 198"/>
                <a:gd name="T15" fmla="*/ 426 h 469"/>
                <a:gd name="T16" fmla="*/ 155 w 198"/>
                <a:gd name="T17" fmla="*/ 469 h 469"/>
                <a:gd name="T18" fmla="*/ 43 w 198"/>
                <a:gd name="T19" fmla="*/ 18 h 469"/>
                <a:gd name="T20" fmla="*/ 18 w 198"/>
                <a:gd name="T21" fmla="*/ 42 h 469"/>
                <a:gd name="T22" fmla="*/ 18 w 198"/>
                <a:gd name="T23" fmla="*/ 426 h 469"/>
                <a:gd name="T24" fmla="*/ 43 w 198"/>
                <a:gd name="T25" fmla="*/ 451 h 469"/>
                <a:gd name="T26" fmla="*/ 155 w 198"/>
                <a:gd name="T27" fmla="*/ 451 h 469"/>
                <a:gd name="T28" fmla="*/ 180 w 198"/>
                <a:gd name="T29" fmla="*/ 426 h 469"/>
                <a:gd name="T30" fmla="*/ 180 w 198"/>
                <a:gd name="T31" fmla="*/ 42 h 469"/>
                <a:gd name="T32" fmla="*/ 155 w 198"/>
                <a:gd name="T33" fmla="*/ 18 h 469"/>
                <a:gd name="T34" fmla="*/ 43 w 198"/>
                <a:gd name="T35" fmla="*/ 1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469">
                  <a:moveTo>
                    <a:pt x="155" y="469"/>
                  </a:moveTo>
                  <a:cubicBezTo>
                    <a:pt x="43" y="469"/>
                    <a:pt x="43" y="469"/>
                    <a:pt x="43" y="469"/>
                  </a:cubicBezTo>
                  <a:cubicBezTo>
                    <a:pt x="20" y="469"/>
                    <a:pt x="0" y="450"/>
                    <a:pt x="0" y="42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20" y="0"/>
                    <a:pt x="43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79" y="0"/>
                    <a:pt x="198" y="19"/>
                    <a:pt x="198" y="42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198" y="450"/>
                    <a:pt x="179" y="469"/>
                    <a:pt x="155" y="469"/>
                  </a:cubicBezTo>
                  <a:close/>
                  <a:moveTo>
                    <a:pt x="43" y="18"/>
                  </a:moveTo>
                  <a:cubicBezTo>
                    <a:pt x="30" y="18"/>
                    <a:pt x="18" y="29"/>
                    <a:pt x="18" y="42"/>
                  </a:cubicBezTo>
                  <a:cubicBezTo>
                    <a:pt x="18" y="426"/>
                    <a:pt x="18" y="426"/>
                    <a:pt x="18" y="426"/>
                  </a:cubicBezTo>
                  <a:cubicBezTo>
                    <a:pt x="18" y="440"/>
                    <a:pt x="30" y="451"/>
                    <a:pt x="43" y="451"/>
                  </a:cubicBezTo>
                  <a:cubicBezTo>
                    <a:pt x="155" y="451"/>
                    <a:pt x="155" y="451"/>
                    <a:pt x="155" y="451"/>
                  </a:cubicBezTo>
                  <a:cubicBezTo>
                    <a:pt x="169" y="451"/>
                    <a:pt x="180" y="440"/>
                    <a:pt x="180" y="426"/>
                  </a:cubicBezTo>
                  <a:cubicBezTo>
                    <a:pt x="180" y="42"/>
                    <a:pt x="180" y="42"/>
                    <a:pt x="180" y="42"/>
                  </a:cubicBezTo>
                  <a:cubicBezTo>
                    <a:pt x="180" y="29"/>
                    <a:pt x="169" y="18"/>
                    <a:pt x="155" y="18"/>
                  </a:cubicBezTo>
                  <a:lnTo>
                    <a:pt x="43" y="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44" name="Oval 13">
              <a:extLst>
                <a:ext uri="{FF2B5EF4-FFF2-40B4-BE49-F238E27FC236}">
                  <a16:creationId xmlns:a16="http://schemas.microsoft.com/office/drawing/2014/main" id="{80E59F1D-1A75-4B03-9132-EE32B3AA4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8269" y="3726657"/>
              <a:ext cx="103188" cy="104775"/>
            </a:xfrm>
            <a:prstGeom prst="ellipse">
              <a:avLst/>
            </a:prstGeom>
            <a:noFill/>
            <a:ln w="11430">
              <a:solidFill>
                <a:schemeClr val="accent1"/>
              </a:solidFill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45" name="Oval 13">
              <a:extLst>
                <a:ext uri="{FF2B5EF4-FFF2-40B4-BE49-F238E27FC236}">
                  <a16:creationId xmlns:a16="http://schemas.microsoft.com/office/drawing/2014/main" id="{1FDA96FE-C89A-42C6-973E-BDE3404CA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8269" y="3605213"/>
              <a:ext cx="103188" cy="104775"/>
            </a:xfrm>
            <a:prstGeom prst="ellipse">
              <a:avLst/>
            </a:prstGeom>
            <a:noFill/>
            <a:ln w="11430">
              <a:solidFill>
                <a:schemeClr val="accent1"/>
              </a:solidFill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  <p:sp>
          <p:nvSpPr>
            <p:cNvPr id="46" name="Oval 13">
              <a:extLst>
                <a:ext uri="{FF2B5EF4-FFF2-40B4-BE49-F238E27FC236}">
                  <a16:creationId xmlns:a16="http://schemas.microsoft.com/office/drawing/2014/main" id="{C9C8788E-B57D-4351-A797-14DB8AE601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8269" y="3848101"/>
              <a:ext cx="103188" cy="104775"/>
            </a:xfrm>
            <a:prstGeom prst="ellipse">
              <a:avLst/>
            </a:prstGeom>
            <a:solidFill>
              <a:schemeClr val="accent3"/>
            </a:solidFill>
            <a:ln w="11430"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23031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zöveg helye 5">
            <a:extLst>
              <a:ext uri="{FF2B5EF4-FFF2-40B4-BE49-F238E27FC236}">
                <a16:creationId xmlns:a16="http://schemas.microsoft.com/office/drawing/2014/main" id="{51ACF69A-F088-41DC-A429-691A6BA4B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8000" y="1595437"/>
            <a:ext cx="2615065" cy="419431"/>
          </a:xfrm>
          <a:solidFill>
            <a:srgbClr val="EA1C0A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ategory</a:t>
            </a:r>
            <a:r>
              <a:rPr lang="hu-HU" dirty="0"/>
              <a:t> </a:t>
            </a:r>
            <a:r>
              <a:rPr lang="hu-HU" dirty="0" err="1"/>
              <a:t>name</a:t>
            </a:r>
            <a:endParaRPr lang="hu-HU" dirty="0"/>
          </a:p>
        </p:txBody>
      </p:sp>
      <p:sp>
        <p:nvSpPr>
          <p:cNvPr id="11" name="Szöveg helye 5">
            <a:extLst>
              <a:ext uri="{FF2B5EF4-FFF2-40B4-BE49-F238E27FC236}">
                <a16:creationId xmlns:a16="http://schemas.microsoft.com/office/drawing/2014/main" id="{EE7D0E00-8951-4FAC-9FC2-B71D46486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2000" y="1595437"/>
            <a:ext cx="2615065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Description</a:t>
            </a:r>
            <a:r>
              <a:rPr lang="hu-HU" dirty="0"/>
              <a:t> of </a:t>
            </a:r>
            <a:r>
              <a:rPr lang="hu-HU" dirty="0" err="1"/>
              <a:t>task</a:t>
            </a:r>
            <a:endParaRPr lang="hu-HU" dirty="0"/>
          </a:p>
        </p:txBody>
      </p:sp>
      <p:sp>
        <p:nvSpPr>
          <p:cNvPr id="12" name="Szöveg helye 5">
            <a:extLst>
              <a:ext uri="{FF2B5EF4-FFF2-40B4-BE49-F238E27FC236}">
                <a16:creationId xmlns:a16="http://schemas.microsoft.com/office/drawing/2014/main" id="{11EE22E9-57A4-47DE-91D9-C596BE94A7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86000" y="1595437"/>
            <a:ext cx="2615065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Value</a:t>
            </a:r>
            <a:r>
              <a:rPr lang="hu-HU" dirty="0"/>
              <a:t> add </a:t>
            </a:r>
            <a:r>
              <a:rPr lang="hu-HU" dirty="0" err="1"/>
              <a:t>for</a:t>
            </a:r>
            <a:r>
              <a:rPr lang="hu-HU" dirty="0"/>
              <a:t> E.ON</a:t>
            </a:r>
          </a:p>
        </p:txBody>
      </p:sp>
      <p:sp>
        <p:nvSpPr>
          <p:cNvPr id="13" name="Szöveg helye 5">
            <a:extLst>
              <a:ext uri="{FF2B5EF4-FFF2-40B4-BE49-F238E27FC236}">
                <a16:creationId xmlns:a16="http://schemas.microsoft.com/office/drawing/2014/main" id="{08950B07-4E39-4BD8-B2DC-08DF25790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32000" y="3534107"/>
            <a:ext cx="2615065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ntact</a:t>
            </a:r>
            <a:r>
              <a:rPr lang="hu-HU" dirty="0"/>
              <a:t> </a:t>
            </a:r>
            <a:r>
              <a:rPr lang="hu-HU" dirty="0" err="1"/>
              <a:t>person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this</a:t>
            </a:r>
            <a:r>
              <a:rPr lang="hu-HU" dirty="0"/>
              <a:t> </a:t>
            </a:r>
            <a:r>
              <a:rPr lang="hu-HU" dirty="0" err="1"/>
              <a:t>task</a:t>
            </a:r>
            <a:endParaRPr lang="hu-HU" dirty="0"/>
          </a:p>
        </p:txBody>
      </p:sp>
      <p:sp>
        <p:nvSpPr>
          <p:cNvPr id="14" name="Szöveg helye 5">
            <a:extLst>
              <a:ext uri="{FF2B5EF4-FFF2-40B4-BE49-F238E27FC236}">
                <a16:creationId xmlns:a16="http://schemas.microsoft.com/office/drawing/2014/main" id="{C1EFEA80-2404-44C6-8DF5-C4CFA806A8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6000" y="3534107"/>
            <a:ext cx="2615065" cy="419431"/>
          </a:xfrm>
          <a:solidFill>
            <a:srgbClr val="5CC1CB"/>
          </a:solidFill>
        </p:spPr>
        <p:txBody>
          <a:bodyPr lIns="72000" tIns="7200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Required</a:t>
            </a:r>
            <a:r>
              <a:rPr lang="hu-HU" dirty="0"/>
              <a:t> </a:t>
            </a:r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15" name="Szöveg helye 5">
            <a:extLst>
              <a:ext uri="{FF2B5EF4-FFF2-40B4-BE49-F238E27FC236}">
                <a16:creationId xmlns:a16="http://schemas.microsoft.com/office/drawing/2014/main" id="{0909626F-C9C3-43AF-A351-DB758ECFAB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732" y="3534106"/>
            <a:ext cx="1306800" cy="419431"/>
          </a:xfrm>
          <a:solidFill>
            <a:srgbClr val="E3E000"/>
          </a:solidFill>
        </p:spPr>
        <p:txBody>
          <a:bodyPr lIns="72000" tIns="72000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Priorization</a:t>
            </a:r>
            <a:endParaRPr lang="hu-HU" dirty="0"/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23657C73-16A0-4733-B849-35F1FDB3A3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999" y="2136775"/>
            <a:ext cx="2615065" cy="13081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expeligninet</a:t>
            </a:r>
            <a:r>
              <a:rPr lang="hu-HU" dirty="0"/>
              <a:t> </a:t>
            </a:r>
            <a:r>
              <a:rPr lang="hu-HU" dirty="0" err="1"/>
              <a:t>quas</a:t>
            </a:r>
            <a:r>
              <a:rPr lang="hu-HU" dirty="0"/>
              <a:t> </a:t>
            </a:r>
            <a:r>
              <a:rPr lang="hu-HU" dirty="0" err="1"/>
              <a:t>audiore</a:t>
            </a:r>
            <a:endParaRPr lang="hu-HU" dirty="0"/>
          </a:p>
        </p:txBody>
      </p:sp>
      <p:sp>
        <p:nvSpPr>
          <p:cNvPr id="18" name="Szöveg helye 16">
            <a:extLst>
              <a:ext uri="{FF2B5EF4-FFF2-40B4-BE49-F238E27FC236}">
                <a16:creationId xmlns:a16="http://schemas.microsoft.com/office/drawing/2014/main" id="{0C4C65EE-0897-4EB4-B8D1-5EB20B5BC2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000" y="2136775"/>
            <a:ext cx="2615065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sp>
        <p:nvSpPr>
          <p:cNvPr id="19" name="Szöveg helye 16">
            <a:extLst>
              <a:ext uri="{FF2B5EF4-FFF2-40B4-BE49-F238E27FC236}">
                <a16:creationId xmlns:a16="http://schemas.microsoft.com/office/drawing/2014/main" id="{CE8BAAFC-B9A5-400B-B63B-B888029EE7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99465" y="2129317"/>
            <a:ext cx="2615065" cy="1308100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  <a:p>
            <a:pPr lvl="0"/>
            <a:r>
              <a:rPr lang="hu-HU" dirty="0" err="1"/>
              <a:t>Giae</a:t>
            </a:r>
            <a:r>
              <a:rPr lang="hu-HU" dirty="0"/>
              <a:t> vel</a:t>
            </a:r>
          </a:p>
          <a:p>
            <a:pPr lvl="0"/>
            <a:r>
              <a:rPr lang="hu-HU" dirty="0" err="1"/>
              <a:t>Rellabo</a:t>
            </a:r>
            <a:r>
              <a:rPr lang="hu-HU" dirty="0"/>
              <a:t> </a:t>
            </a:r>
            <a:r>
              <a:rPr lang="hu-HU" dirty="0" err="1"/>
              <a:t>ratemporiam</a:t>
            </a:r>
            <a:endParaRPr lang="hu-HU" dirty="0"/>
          </a:p>
        </p:txBody>
      </p:sp>
      <p:sp>
        <p:nvSpPr>
          <p:cNvPr id="20" name="Szöveg helye 16">
            <a:extLst>
              <a:ext uri="{FF2B5EF4-FFF2-40B4-BE49-F238E27FC236}">
                <a16:creationId xmlns:a16="http://schemas.microsoft.com/office/drawing/2014/main" id="{B88EDB83-80F5-426D-89AA-DA81AD82E49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000" y="4042770"/>
            <a:ext cx="2615065" cy="959849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</p:txBody>
      </p:sp>
      <p:sp>
        <p:nvSpPr>
          <p:cNvPr id="21" name="Szöveg helye 16">
            <a:extLst>
              <a:ext uri="{FF2B5EF4-FFF2-40B4-BE49-F238E27FC236}">
                <a16:creationId xmlns:a16="http://schemas.microsoft.com/office/drawing/2014/main" id="{A237D8C5-AF31-481D-B777-E4BF50B3D9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85999" y="4042769"/>
            <a:ext cx="2615065" cy="959849"/>
          </a:xfrm>
        </p:spPr>
        <p:txBody>
          <a:bodyPr/>
          <a:lstStyle>
            <a:lvl1pPr marL="180975" indent="-180975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hu-HU" dirty="0" err="1"/>
              <a:t>Volupid</a:t>
            </a:r>
            <a:endParaRPr lang="hu-HU" dirty="0"/>
          </a:p>
          <a:p>
            <a:pPr lvl="0"/>
            <a:r>
              <a:rPr lang="hu-HU" dirty="0"/>
              <a:t>Eres est </a:t>
            </a:r>
            <a:r>
              <a:rPr lang="hu-HU" dirty="0" err="1"/>
              <a:t>earum</a:t>
            </a:r>
            <a:endParaRPr lang="hu-HU" dirty="0"/>
          </a:p>
          <a:p>
            <a:pPr lvl="0"/>
            <a:r>
              <a:rPr lang="hu-HU" dirty="0" err="1"/>
              <a:t>Ut</a:t>
            </a:r>
            <a:r>
              <a:rPr lang="hu-HU" dirty="0"/>
              <a:t> </a:t>
            </a:r>
            <a:r>
              <a:rPr lang="hu-HU" dirty="0" err="1"/>
              <a:t>dolum</a:t>
            </a:r>
            <a:r>
              <a:rPr lang="hu-HU" dirty="0"/>
              <a:t> </a:t>
            </a:r>
            <a:r>
              <a:rPr lang="hu-HU" dirty="0" err="1"/>
              <a:t>quat</a:t>
            </a:r>
            <a:endParaRPr lang="hu-HU" dirty="0"/>
          </a:p>
        </p:txBody>
      </p:sp>
      <p:sp>
        <p:nvSpPr>
          <p:cNvPr id="22" name="Szöveg helye 16">
            <a:extLst>
              <a:ext uri="{FF2B5EF4-FFF2-40B4-BE49-F238E27FC236}">
                <a16:creationId xmlns:a16="http://schemas.microsoft.com/office/drawing/2014/main" id="{28FFA982-A904-4D37-B5E2-CE955BAB8B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7998" y="4042768"/>
            <a:ext cx="2615065" cy="959849"/>
          </a:xfrm>
        </p:spPr>
        <p:txBody>
          <a:bodyPr lIns="0" anchor="b"/>
          <a:lstStyle>
            <a:lvl1pPr marL="0" indent="0"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hu-HU" dirty="0"/>
              <a:t>(New </a:t>
            </a:r>
            <a:r>
              <a:rPr lang="hu-HU" dirty="0" err="1"/>
              <a:t>moon</a:t>
            </a:r>
            <a:r>
              <a:rPr lang="hu-HU" dirty="0"/>
              <a:t> _ </a:t>
            </a:r>
            <a:r>
              <a:rPr lang="hu-HU" dirty="0" err="1"/>
              <a:t>low</a:t>
            </a:r>
            <a:r>
              <a:rPr lang="hu-HU" dirty="0"/>
              <a:t>;</a:t>
            </a:r>
          </a:p>
          <a:p>
            <a:pPr lvl="0"/>
            <a:r>
              <a:rPr lang="hu-HU" dirty="0" err="1"/>
              <a:t>Full</a:t>
            </a:r>
            <a:r>
              <a:rPr lang="hu-HU" dirty="0"/>
              <a:t> </a:t>
            </a:r>
            <a:r>
              <a:rPr lang="hu-HU" dirty="0" err="1"/>
              <a:t>moon</a:t>
            </a:r>
            <a:r>
              <a:rPr lang="hu-HU" dirty="0"/>
              <a:t> _ </a:t>
            </a:r>
            <a:r>
              <a:rPr lang="hu-HU" dirty="0" err="1"/>
              <a:t>high</a:t>
            </a:r>
            <a:endParaRPr lang="hu-HU" dirty="0"/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12467DBD-04D6-48D0-A738-803E633EDA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732" y="4337040"/>
            <a:ext cx="549951" cy="185652"/>
          </a:xfrm>
          <a:prstGeom prst="rect">
            <a:avLst/>
          </a:prstGeom>
        </p:spPr>
      </p:pic>
      <p:sp>
        <p:nvSpPr>
          <p:cNvPr id="23" name="Titel 1">
            <a:extLst>
              <a:ext uri="{FF2B5EF4-FFF2-40B4-BE49-F238E27FC236}">
                <a16:creationId xmlns:a16="http://schemas.microsoft.com/office/drawing/2014/main" id="{8F06AF47-E649-470F-AEA7-9411763AC6BE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Charter</a:t>
            </a:r>
            <a:endParaRPr lang="en-GB" dirty="0"/>
          </a:p>
        </p:txBody>
      </p:sp>
      <p:sp>
        <p:nvSpPr>
          <p:cNvPr id="29" name="Fußzeilenplatzhalter 6">
            <a:extLst>
              <a:ext uri="{FF2B5EF4-FFF2-40B4-BE49-F238E27FC236}">
                <a16:creationId xmlns:a16="http://schemas.microsoft.com/office/drawing/2014/main" id="{3B868997-A19D-4292-82AE-EF25BC91F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709654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organiz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zöveg helye 5">
            <a:extLst>
              <a:ext uri="{FF2B5EF4-FFF2-40B4-BE49-F238E27FC236}">
                <a16:creationId xmlns:a16="http://schemas.microsoft.com/office/drawing/2014/main" id="{51ACF69A-F088-41DC-A429-691A6BA4B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74646" y="1159920"/>
            <a:ext cx="2615065" cy="288934"/>
          </a:xfrm>
          <a:solidFill>
            <a:srgbClr val="EA1C0A"/>
          </a:solidFill>
        </p:spPr>
        <p:txBody>
          <a:bodyPr lIns="0" tIns="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E.ON</a:t>
            </a: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23657C73-16A0-4733-B849-35F1FDB3A3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70935" y="1723757"/>
            <a:ext cx="1258702" cy="382882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  <a:lvl2pPr marL="285751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200"/>
            </a:lvl2pPr>
          </a:lstStyle>
          <a:p>
            <a:pPr lvl="1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4" name="Egyenes összekötő 3">
            <a:extLst>
              <a:ext uri="{FF2B5EF4-FFF2-40B4-BE49-F238E27FC236}">
                <a16:creationId xmlns:a16="http://schemas.microsoft.com/office/drawing/2014/main" id="{C944D1A5-217E-4313-844E-044AF1240506}"/>
              </a:ext>
            </a:extLst>
          </p:cNvPr>
          <p:cNvCxnSpPr>
            <a:cxnSpLocks/>
            <a:stCxn id="6" idx="2"/>
          </p:cNvCxnSpPr>
          <p:nvPr userDrawn="1"/>
        </p:nvCxnSpPr>
        <p:spPr>
          <a:xfrm>
            <a:off x="4582179" y="1448854"/>
            <a:ext cx="0" cy="97748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Szöveg helye 16">
            <a:extLst>
              <a:ext uri="{FF2B5EF4-FFF2-40B4-BE49-F238E27FC236}">
                <a16:creationId xmlns:a16="http://schemas.microsoft.com/office/drawing/2014/main" id="{016E4C0F-73EC-49D9-A1A6-B329F1C65E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33049" y="1723756"/>
            <a:ext cx="1258702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40901750-A986-494F-95DC-7ACFC0ADC15D}"/>
              </a:ext>
            </a:extLst>
          </p:cNvPr>
          <p:cNvCxnSpPr>
            <a:cxnSpLocks/>
          </p:cNvCxnSpPr>
          <p:nvPr userDrawn="1"/>
        </p:nvCxnSpPr>
        <p:spPr>
          <a:xfrm>
            <a:off x="4582179" y="2483533"/>
            <a:ext cx="0" cy="106397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F8B002F5-CEA8-4CC2-96BF-ADDE39F24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2074499" y="3418987"/>
            <a:ext cx="5007935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Egyenes összekötő 34">
            <a:extLst>
              <a:ext uri="{FF2B5EF4-FFF2-40B4-BE49-F238E27FC236}">
                <a16:creationId xmlns:a16="http://schemas.microsoft.com/office/drawing/2014/main" id="{C8F49F50-5322-4B2E-876A-8A37F5B7D197}"/>
              </a:ext>
            </a:extLst>
          </p:cNvPr>
          <p:cNvCxnSpPr/>
          <p:nvPr userDrawn="1"/>
        </p:nvCxnSpPr>
        <p:spPr>
          <a:xfrm>
            <a:off x="2074499" y="341527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FC948CF7-FF33-4660-8430-2F8D8894333F}"/>
              </a:ext>
            </a:extLst>
          </p:cNvPr>
          <p:cNvCxnSpPr/>
          <p:nvPr userDrawn="1"/>
        </p:nvCxnSpPr>
        <p:spPr>
          <a:xfrm>
            <a:off x="7077258" y="341527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5">
            <a:extLst>
              <a:ext uri="{FF2B5EF4-FFF2-40B4-BE49-F238E27FC236}">
                <a16:creationId xmlns:a16="http://schemas.microsoft.com/office/drawing/2014/main" id="{44F283D8-2CB4-415D-8510-5B76A78DC1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87236" y="3620840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43" name="Szöveg helye 5">
            <a:extLst>
              <a:ext uri="{FF2B5EF4-FFF2-40B4-BE49-F238E27FC236}">
                <a16:creationId xmlns:a16="http://schemas.microsoft.com/office/drawing/2014/main" id="{64785F3D-5728-4ED3-9E9C-D29E6E3DC9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6825" y="3620840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9239BF94-8DFF-4D5D-BE78-8907E7A2CC50}"/>
              </a:ext>
            </a:extLst>
          </p:cNvPr>
          <p:cNvCxnSpPr/>
          <p:nvPr userDrawn="1"/>
        </p:nvCxnSpPr>
        <p:spPr>
          <a:xfrm>
            <a:off x="4626624" y="1729369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Egyenes összekötő 51">
            <a:extLst>
              <a:ext uri="{FF2B5EF4-FFF2-40B4-BE49-F238E27FC236}">
                <a16:creationId xmlns:a16="http://schemas.microsoft.com/office/drawing/2014/main" id="{3372E81F-B988-45A1-A3A5-18906685090D}"/>
              </a:ext>
            </a:extLst>
          </p:cNvPr>
          <p:cNvCxnSpPr/>
          <p:nvPr userDrawn="1"/>
        </p:nvCxnSpPr>
        <p:spPr>
          <a:xfrm>
            <a:off x="3274646" y="1723756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Fußzeilenplatzhalter 6">
            <a:extLst>
              <a:ext uri="{FF2B5EF4-FFF2-40B4-BE49-F238E27FC236}">
                <a16:creationId xmlns:a16="http://schemas.microsoft.com/office/drawing/2014/main" id="{9C10AB1E-35DB-4E16-B013-6886AC2D3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32" name="Tartalom helye 8">
            <a:extLst>
              <a:ext uri="{FF2B5EF4-FFF2-40B4-BE49-F238E27FC236}">
                <a16:creationId xmlns:a16="http://schemas.microsoft.com/office/drawing/2014/main" id="{ED5D678E-7CE9-4E17-9D06-6D66DD389F32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633049" y="1504632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40" name="Tartalom helye 8">
            <a:extLst>
              <a:ext uri="{FF2B5EF4-FFF2-40B4-BE49-F238E27FC236}">
                <a16:creationId xmlns:a16="http://schemas.microsoft.com/office/drawing/2014/main" id="{06E2E8B2-7016-4361-8B37-F7146AD301AB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3268424" y="1495163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 err="1"/>
              <a:t>Client</a:t>
            </a:r>
            <a:endParaRPr lang="hu-HU" dirty="0"/>
          </a:p>
        </p:txBody>
      </p:sp>
      <p:sp>
        <p:nvSpPr>
          <p:cNvPr id="50" name="Cím 1">
            <a:extLst>
              <a:ext uri="{FF2B5EF4-FFF2-40B4-BE49-F238E27FC236}">
                <a16:creationId xmlns:a16="http://schemas.microsoft.com/office/drawing/2014/main" id="{175A56BD-A3C0-4784-9069-74147702C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Project </a:t>
            </a:r>
            <a:r>
              <a:rPr lang="hu-HU" dirty="0" err="1"/>
              <a:t>organization</a:t>
            </a:r>
            <a:endParaRPr lang="hu-HU" dirty="0"/>
          </a:p>
        </p:txBody>
      </p:sp>
      <p:sp>
        <p:nvSpPr>
          <p:cNvPr id="39" name="Szöveg helye 5">
            <a:extLst>
              <a:ext uri="{FF2B5EF4-FFF2-40B4-BE49-F238E27FC236}">
                <a16:creationId xmlns:a16="http://schemas.microsoft.com/office/drawing/2014/main" id="{57A9F2BD-A255-4A00-9659-8D87001C318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64015" y="2212298"/>
            <a:ext cx="2632307" cy="288934"/>
          </a:xfrm>
          <a:solidFill>
            <a:srgbClr val="EA1C0A"/>
          </a:solidFill>
        </p:spPr>
        <p:txBody>
          <a:bodyPr lIns="0" tIns="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E.ON</a:t>
            </a:r>
          </a:p>
        </p:txBody>
      </p:sp>
      <p:sp>
        <p:nvSpPr>
          <p:cNvPr id="56" name="Szöveg helye 16">
            <a:extLst>
              <a:ext uri="{FF2B5EF4-FFF2-40B4-BE49-F238E27FC236}">
                <a16:creationId xmlns:a16="http://schemas.microsoft.com/office/drawing/2014/main" id="{5FCE94E3-33E9-4C5E-A798-D048871E9FD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65107" y="2772500"/>
            <a:ext cx="1258702" cy="382882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  <a:lvl2pPr marL="285751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200"/>
            </a:lvl2pPr>
          </a:lstStyle>
          <a:p>
            <a:pPr lvl="1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57" name="Szöveg helye 16">
            <a:extLst>
              <a:ext uri="{FF2B5EF4-FFF2-40B4-BE49-F238E27FC236}">
                <a16:creationId xmlns:a16="http://schemas.microsoft.com/office/drawing/2014/main" id="{3C4A27A6-94A3-4873-A58B-34B06D01054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631606" y="2766886"/>
            <a:ext cx="1258702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58" name="Egyenes összekötő 57">
            <a:extLst>
              <a:ext uri="{FF2B5EF4-FFF2-40B4-BE49-F238E27FC236}">
                <a16:creationId xmlns:a16="http://schemas.microsoft.com/office/drawing/2014/main" id="{2E5BFBED-D430-4A38-948D-DB78B8A1B3AF}"/>
              </a:ext>
            </a:extLst>
          </p:cNvPr>
          <p:cNvCxnSpPr/>
          <p:nvPr userDrawn="1"/>
        </p:nvCxnSpPr>
        <p:spPr>
          <a:xfrm>
            <a:off x="4625181" y="2772499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Egyenes összekötő 58">
            <a:extLst>
              <a:ext uri="{FF2B5EF4-FFF2-40B4-BE49-F238E27FC236}">
                <a16:creationId xmlns:a16="http://schemas.microsoft.com/office/drawing/2014/main" id="{7C5B7239-F2C6-4D64-90D1-71339838465A}"/>
              </a:ext>
            </a:extLst>
          </p:cNvPr>
          <p:cNvCxnSpPr/>
          <p:nvPr userDrawn="1"/>
        </p:nvCxnSpPr>
        <p:spPr>
          <a:xfrm>
            <a:off x="3268818" y="2772499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artalom helye 8">
            <a:extLst>
              <a:ext uri="{FF2B5EF4-FFF2-40B4-BE49-F238E27FC236}">
                <a16:creationId xmlns:a16="http://schemas.microsoft.com/office/drawing/2014/main" id="{5E366462-DF57-4D95-984C-98587F4D4600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4631606" y="2547762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61" name="Tartalom helye 8">
            <a:extLst>
              <a:ext uri="{FF2B5EF4-FFF2-40B4-BE49-F238E27FC236}">
                <a16:creationId xmlns:a16="http://schemas.microsoft.com/office/drawing/2014/main" id="{7B0E82D6-9738-4C9C-A134-92995A3F2EDC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3262596" y="2543906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 err="1"/>
              <a:t>Client</a:t>
            </a:r>
            <a:endParaRPr lang="hu-HU" dirty="0"/>
          </a:p>
        </p:txBody>
      </p:sp>
      <p:sp>
        <p:nvSpPr>
          <p:cNvPr id="62" name="Szöveg helye 5">
            <a:extLst>
              <a:ext uri="{FF2B5EF4-FFF2-40B4-BE49-F238E27FC236}">
                <a16:creationId xmlns:a16="http://schemas.microsoft.com/office/drawing/2014/main" id="{64D1A182-9F1F-46E8-93EE-461C1C60B49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4606970" y="3615530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63" name="Szöveg helye 5">
            <a:extLst>
              <a:ext uri="{FF2B5EF4-FFF2-40B4-BE49-F238E27FC236}">
                <a16:creationId xmlns:a16="http://schemas.microsoft.com/office/drawing/2014/main" id="{9FCABC82-39D3-49C3-9B23-E71DC5DA7B6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96559" y="3615530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64" name="Szöveg helye 5">
            <a:extLst>
              <a:ext uri="{FF2B5EF4-FFF2-40B4-BE49-F238E27FC236}">
                <a16:creationId xmlns:a16="http://schemas.microsoft.com/office/drawing/2014/main" id="{3D5A8937-AA9D-48A2-A7CA-0CD03C1D1F9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094294" y="3617283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65" name="Szöveg helye 5">
            <a:extLst>
              <a:ext uri="{FF2B5EF4-FFF2-40B4-BE49-F238E27FC236}">
                <a16:creationId xmlns:a16="http://schemas.microsoft.com/office/drawing/2014/main" id="{02A96048-980D-4E6F-A867-ABB6C61A1EF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5883883" y="3617283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71" name="Szöveg helye 16">
            <a:extLst>
              <a:ext uri="{FF2B5EF4-FFF2-40B4-BE49-F238E27FC236}">
                <a16:creationId xmlns:a16="http://schemas.microsoft.com/office/drawing/2014/main" id="{952BA94C-0FE6-4D22-8261-2DBFD78A4FB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76825" y="3871800"/>
            <a:ext cx="1176779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72" name="Szöveg helye 16">
            <a:extLst>
              <a:ext uri="{FF2B5EF4-FFF2-40B4-BE49-F238E27FC236}">
                <a16:creationId xmlns:a16="http://schemas.microsoft.com/office/drawing/2014/main" id="{F7DF8F02-557D-49D4-96DC-9E734DBD59C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2085817" y="3871800"/>
            <a:ext cx="1176779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73" name="Szöveg helye 16">
            <a:extLst>
              <a:ext uri="{FF2B5EF4-FFF2-40B4-BE49-F238E27FC236}">
                <a16:creationId xmlns:a16="http://schemas.microsoft.com/office/drawing/2014/main" id="{2963B36C-6CEA-4F28-8FC5-69D072DFB3B1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96559" y="3864138"/>
            <a:ext cx="1176779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74" name="Szöveg helye 16">
            <a:extLst>
              <a:ext uri="{FF2B5EF4-FFF2-40B4-BE49-F238E27FC236}">
                <a16:creationId xmlns:a16="http://schemas.microsoft.com/office/drawing/2014/main" id="{2E322FDD-D54A-4D3C-83F2-1C54A1FCBF93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605551" y="3871800"/>
            <a:ext cx="1176779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75" name="Szöveg helye 16">
            <a:extLst>
              <a:ext uri="{FF2B5EF4-FFF2-40B4-BE49-F238E27FC236}">
                <a16:creationId xmlns:a16="http://schemas.microsoft.com/office/drawing/2014/main" id="{9E6F67F9-6991-46E3-A416-B12BEBA238E9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883883" y="3871800"/>
            <a:ext cx="1176779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76" name="Szöveg helye 16">
            <a:extLst>
              <a:ext uri="{FF2B5EF4-FFF2-40B4-BE49-F238E27FC236}">
                <a16:creationId xmlns:a16="http://schemas.microsoft.com/office/drawing/2014/main" id="{EE68BED3-5228-4A59-B470-29511858DC4A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092875" y="3879462"/>
            <a:ext cx="1176779" cy="38735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37" name="Dátum helye 2">
            <a:extLst>
              <a:ext uri="{FF2B5EF4-FFF2-40B4-BE49-F238E27FC236}">
                <a16:creationId xmlns:a16="http://schemas.microsoft.com/office/drawing/2014/main" id="{0473CE15-A57D-47D6-BCBF-570B7E9C37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0E58860C-F217-410C-974E-C960CA14F705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41" name="Dia számának helye 4">
            <a:extLst>
              <a:ext uri="{FF2B5EF4-FFF2-40B4-BE49-F238E27FC236}">
                <a16:creationId xmlns:a16="http://schemas.microsoft.com/office/drawing/2014/main" id="{C0D55313-958E-404E-A67B-CDBB29DEA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3278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organization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3" name="Egyenes összekötő 222">
            <a:extLst>
              <a:ext uri="{FF2B5EF4-FFF2-40B4-BE49-F238E27FC236}">
                <a16:creationId xmlns:a16="http://schemas.microsoft.com/office/drawing/2014/main" id="{767C6537-64CF-4544-9EBF-A7654FE2BF99}"/>
              </a:ext>
            </a:extLst>
          </p:cNvPr>
          <p:cNvCxnSpPr/>
          <p:nvPr userDrawn="1"/>
        </p:nvCxnSpPr>
        <p:spPr>
          <a:xfrm>
            <a:off x="1796855" y="3518866"/>
            <a:ext cx="1506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Egyenes összekötő 223">
            <a:extLst>
              <a:ext uri="{FF2B5EF4-FFF2-40B4-BE49-F238E27FC236}">
                <a16:creationId xmlns:a16="http://schemas.microsoft.com/office/drawing/2014/main" id="{1071BD58-8F8A-4743-A549-9B7E3B504263}"/>
              </a:ext>
            </a:extLst>
          </p:cNvPr>
          <p:cNvCxnSpPr/>
          <p:nvPr userDrawn="1"/>
        </p:nvCxnSpPr>
        <p:spPr>
          <a:xfrm>
            <a:off x="1801570" y="3513669"/>
            <a:ext cx="0" cy="140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Egyenes összekötő 220">
            <a:extLst>
              <a:ext uri="{FF2B5EF4-FFF2-40B4-BE49-F238E27FC236}">
                <a16:creationId xmlns:a16="http://schemas.microsoft.com/office/drawing/2014/main" id="{003F06D5-6BE0-4F67-BA45-1F9FE9E40763}"/>
              </a:ext>
            </a:extLst>
          </p:cNvPr>
          <p:cNvCxnSpPr/>
          <p:nvPr userDrawn="1"/>
        </p:nvCxnSpPr>
        <p:spPr>
          <a:xfrm>
            <a:off x="6673175" y="3518866"/>
            <a:ext cx="1506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Egyenes összekötő 221">
            <a:extLst>
              <a:ext uri="{FF2B5EF4-FFF2-40B4-BE49-F238E27FC236}">
                <a16:creationId xmlns:a16="http://schemas.microsoft.com/office/drawing/2014/main" id="{674520E2-0555-4E12-924C-57E9274F476F}"/>
              </a:ext>
            </a:extLst>
          </p:cNvPr>
          <p:cNvCxnSpPr/>
          <p:nvPr userDrawn="1"/>
        </p:nvCxnSpPr>
        <p:spPr>
          <a:xfrm>
            <a:off x="6677890" y="3513669"/>
            <a:ext cx="0" cy="140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Egyenes összekötő 218">
            <a:extLst>
              <a:ext uri="{FF2B5EF4-FFF2-40B4-BE49-F238E27FC236}">
                <a16:creationId xmlns:a16="http://schemas.microsoft.com/office/drawing/2014/main" id="{107A5510-4617-4E04-8F0E-ABA2071B0444}"/>
              </a:ext>
            </a:extLst>
          </p:cNvPr>
          <p:cNvCxnSpPr/>
          <p:nvPr userDrawn="1"/>
        </p:nvCxnSpPr>
        <p:spPr>
          <a:xfrm>
            <a:off x="4925559" y="3518866"/>
            <a:ext cx="1506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Egyenes összekötő 219">
            <a:extLst>
              <a:ext uri="{FF2B5EF4-FFF2-40B4-BE49-F238E27FC236}">
                <a16:creationId xmlns:a16="http://schemas.microsoft.com/office/drawing/2014/main" id="{CE49A480-B032-4AEF-81B3-AEF4ED3F567B}"/>
              </a:ext>
            </a:extLst>
          </p:cNvPr>
          <p:cNvCxnSpPr/>
          <p:nvPr userDrawn="1"/>
        </p:nvCxnSpPr>
        <p:spPr>
          <a:xfrm>
            <a:off x="4930274" y="3513669"/>
            <a:ext cx="0" cy="140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gyenes összekötő 42">
            <a:extLst>
              <a:ext uri="{FF2B5EF4-FFF2-40B4-BE49-F238E27FC236}">
                <a16:creationId xmlns:a16="http://schemas.microsoft.com/office/drawing/2014/main" id="{BB7F05B2-2D46-48D8-A5C4-466B431FEC15}"/>
              </a:ext>
            </a:extLst>
          </p:cNvPr>
          <p:cNvCxnSpPr/>
          <p:nvPr userDrawn="1"/>
        </p:nvCxnSpPr>
        <p:spPr>
          <a:xfrm>
            <a:off x="3554171" y="3524061"/>
            <a:ext cx="1506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Szöveg helye 21">
            <a:extLst>
              <a:ext uri="{FF2B5EF4-FFF2-40B4-BE49-F238E27FC236}">
                <a16:creationId xmlns:a16="http://schemas.microsoft.com/office/drawing/2014/main" id="{C839EECF-55BC-4D58-907D-123828EDAF9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7825" y="1283257"/>
            <a:ext cx="1648445" cy="711200"/>
          </a:xfrm>
        </p:spPr>
        <p:txBody>
          <a:bodyPr/>
          <a:lstStyle>
            <a:lvl1pPr>
              <a:defRPr sz="12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Decision </a:t>
            </a:r>
            <a:r>
              <a:rPr lang="hu-HU" dirty="0" err="1"/>
              <a:t>level</a:t>
            </a:r>
            <a:endParaRPr lang="hu-HU" dirty="0"/>
          </a:p>
        </p:txBody>
      </p:sp>
      <p:sp>
        <p:nvSpPr>
          <p:cNvPr id="55" name="Szöveg helye 21">
            <a:extLst>
              <a:ext uri="{FF2B5EF4-FFF2-40B4-BE49-F238E27FC236}">
                <a16:creationId xmlns:a16="http://schemas.microsoft.com/office/drawing/2014/main" id="{23DA3D22-0837-4C45-A5F7-5D10299833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8000" y="2178388"/>
            <a:ext cx="1648270" cy="7112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</a:t>
            </a:r>
          </a:p>
          <a:p>
            <a:pPr lvl="0"/>
            <a:r>
              <a:rPr lang="hu-HU" dirty="0" err="1"/>
              <a:t>Mangement</a:t>
            </a:r>
            <a:r>
              <a:rPr lang="hu-HU" dirty="0"/>
              <a:t>/</a:t>
            </a:r>
          </a:p>
          <a:p>
            <a:pPr lvl="0"/>
            <a:r>
              <a:rPr lang="hu-HU" dirty="0" err="1"/>
              <a:t>Controlling</a:t>
            </a:r>
            <a:endParaRPr lang="hu-HU" dirty="0"/>
          </a:p>
        </p:txBody>
      </p:sp>
      <p:sp>
        <p:nvSpPr>
          <p:cNvPr id="74" name="Szöveg helye 21">
            <a:extLst>
              <a:ext uri="{FF2B5EF4-FFF2-40B4-BE49-F238E27FC236}">
                <a16:creationId xmlns:a16="http://schemas.microsoft.com/office/drawing/2014/main" id="{5C82E48D-0FD2-424A-8966-BFCCD03C55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1332" y="3378460"/>
            <a:ext cx="1648270" cy="7112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</a:t>
            </a:r>
          </a:p>
          <a:p>
            <a:pPr lvl="0"/>
            <a:r>
              <a:rPr lang="hu-HU" dirty="0" err="1"/>
              <a:t>Mangement</a:t>
            </a:r>
            <a:r>
              <a:rPr lang="hu-HU" dirty="0"/>
              <a:t>/</a:t>
            </a:r>
          </a:p>
          <a:p>
            <a:pPr lvl="0"/>
            <a:r>
              <a:rPr lang="hu-HU" dirty="0" err="1"/>
              <a:t>Controlling</a:t>
            </a:r>
            <a:endParaRPr lang="hu-HU" dirty="0"/>
          </a:p>
        </p:txBody>
      </p:sp>
      <p:sp>
        <p:nvSpPr>
          <p:cNvPr id="75" name="Szöveg helye 21">
            <a:extLst>
              <a:ext uri="{FF2B5EF4-FFF2-40B4-BE49-F238E27FC236}">
                <a16:creationId xmlns:a16="http://schemas.microsoft.com/office/drawing/2014/main" id="{D2CC1487-3097-4CD0-8FF9-512410EFEF3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84231" y="4180885"/>
            <a:ext cx="1648445" cy="7112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</a:t>
            </a:r>
          </a:p>
          <a:p>
            <a:pPr lvl="0"/>
            <a:r>
              <a:rPr lang="hu-HU" dirty="0" err="1"/>
              <a:t>Mangement</a:t>
            </a:r>
            <a:r>
              <a:rPr lang="hu-HU" dirty="0"/>
              <a:t>/</a:t>
            </a:r>
          </a:p>
          <a:p>
            <a:pPr lvl="0"/>
            <a:r>
              <a:rPr lang="hu-HU" dirty="0" err="1"/>
              <a:t>Controlling</a:t>
            </a:r>
            <a:endParaRPr lang="hu-HU" dirty="0"/>
          </a:p>
        </p:txBody>
      </p:sp>
      <p:sp>
        <p:nvSpPr>
          <p:cNvPr id="142" name="Fußzeilenplatzhalter 6">
            <a:extLst>
              <a:ext uri="{FF2B5EF4-FFF2-40B4-BE49-F238E27FC236}">
                <a16:creationId xmlns:a16="http://schemas.microsoft.com/office/drawing/2014/main" id="{EB8C6F65-E375-4B35-948D-437FD8568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78000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71" name="Cím 1">
            <a:extLst>
              <a:ext uri="{FF2B5EF4-FFF2-40B4-BE49-F238E27FC236}">
                <a16:creationId xmlns:a16="http://schemas.microsoft.com/office/drawing/2014/main" id="{2DE14E34-6E22-4F31-A5C9-4B5CFD1AE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Project </a:t>
            </a:r>
            <a:r>
              <a:rPr lang="hu-HU" dirty="0" err="1"/>
              <a:t>organization</a:t>
            </a:r>
            <a:endParaRPr lang="hu-HU" dirty="0"/>
          </a:p>
        </p:txBody>
      </p: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3E5220D3-042B-408E-A0B3-7B41E539FD4C}"/>
              </a:ext>
            </a:extLst>
          </p:cNvPr>
          <p:cNvCxnSpPr>
            <a:cxnSpLocks/>
          </p:cNvCxnSpPr>
          <p:nvPr userDrawn="1"/>
        </p:nvCxnSpPr>
        <p:spPr>
          <a:xfrm>
            <a:off x="377825" y="1283257"/>
            <a:ext cx="133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Egyenes összekötő 134">
            <a:extLst>
              <a:ext uri="{FF2B5EF4-FFF2-40B4-BE49-F238E27FC236}">
                <a16:creationId xmlns:a16="http://schemas.microsoft.com/office/drawing/2014/main" id="{F4531009-B056-4F7E-A5BA-91CCD78F2FB8}"/>
              </a:ext>
            </a:extLst>
          </p:cNvPr>
          <p:cNvCxnSpPr>
            <a:cxnSpLocks/>
          </p:cNvCxnSpPr>
          <p:nvPr userDrawn="1"/>
        </p:nvCxnSpPr>
        <p:spPr>
          <a:xfrm>
            <a:off x="377825" y="2180120"/>
            <a:ext cx="133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Egyenes összekötő 154">
            <a:extLst>
              <a:ext uri="{FF2B5EF4-FFF2-40B4-BE49-F238E27FC236}">
                <a16:creationId xmlns:a16="http://schemas.microsoft.com/office/drawing/2014/main" id="{EC68643D-2E31-4BA5-B033-67DCACEAABD4}"/>
              </a:ext>
            </a:extLst>
          </p:cNvPr>
          <p:cNvCxnSpPr>
            <a:cxnSpLocks/>
          </p:cNvCxnSpPr>
          <p:nvPr userDrawn="1"/>
        </p:nvCxnSpPr>
        <p:spPr>
          <a:xfrm>
            <a:off x="371332" y="3381465"/>
            <a:ext cx="133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Egyenes összekötő 155">
            <a:extLst>
              <a:ext uri="{FF2B5EF4-FFF2-40B4-BE49-F238E27FC236}">
                <a16:creationId xmlns:a16="http://schemas.microsoft.com/office/drawing/2014/main" id="{B5B3859C-8300-410A-BA41-07CA92DA8F1A}"/>
              </a:ext>
            </a:extLst>
          </p:cNvPr>
          <p:cNvCxnSpPr>
            <a:cxnSpLocks/>
          </p:cNvCxnSpPr>
          <p:nvPr userDrawn="1"/>
        </p:nvCxnSpPr>
        <p:spPr>
          <a:xfrm>
            <a:off x="377825" y="4129343"/>
            <a:ext cx="133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Egyenes összekötő 171">
            <a:extLst>
              <a:ext uri="{FF2B5EF4-FFF2-40B4-BE49-F238E27FC236}">
                <a16:creationId xmlns:a16="http://schemas.microsoft.com/office/drawing/2014/main" id="{6CD381CC-0B5D-4393-ABEB-9C6FB2B25209}"/>
              </a:ext>
            </a:extLst>
          </p:cNvPr>
          <p:cNvCxnSpPr/>
          <p:nvPr userDrawn="1"/>
        </p:nvCxnSpPr>
        <p:spPr>
          <a:xfrm>
            <a:off x="377825" y="5022750"/>
            <a:ext cx="1648270" cy="0"/>
          </a:xfrm>
          <a:prstGeom prst="line">
            <a:avLst/>
          </a:prstGeom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3" name="Szöveg helye 5">
            <a:extLst>
              <a:ext uri="{FF2B5EF4-FFF2-40B4-BE49-F238E27FC236}">
                <a16:creationId xmlns:a16="http://schemas.microsoft.com/office/drawing/2014/main" id="{FEB5C4F9-3B1F-4E2B-BD98-420056DC27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22741" y="1299205"/>
            <a:ext cx="2615065" cy="288934"/>
          </a:xfrm>
          <a:solidFill>
            <a:srgbClr val="EA1C0A"/>
          </a:solidFill>
        </p:spPr>
        <p:txBody>
          <a:bodyPr lIns="0" tIns="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E.ON</a:t>
            </a:r>
          </a:p>
        </p:txBody>
      </p:sp>
      <p:sp>
        <p:nvSpPr>
          <p:cNvPr id="174" name="Szöveg helye 16">
            <a:extLst>
              <a:ext uri="{FF2B5EF4-FFF2-40B4-BE49-F238E27FC236}">
                <a16:creationId xmlns:a16="http://schemas.microsoft.com/office/drawing/2014/main" id="{F93391C6-824F-4459-87A3-68C2888626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030" y="1863042"/>
            <a:ext cx="1258702" cy="337699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  <a:lvl2pPr marL="285751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200"/>
            </a:lvl2pPr>
          </a:lstStyle>
          <a:p>
            <a:pPr lvl="1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175" name="Egyenes összekötő 174">
            <a:extLst>
              <a:ext uri="{FF2B5EF4-FFF2-40B4-BE49-F238E27FC236}">
                <a16:creationId xmlns:a16="http://schemas.microsoft.com/office/drawing/2014/main" id="{F7F27C71-18F3-4D42-ACD4-F53392F493CB}"/>
              </a:ext>
            </a:extLst>
          </p:cNvPr>
          <p:cNvCxnSpPr>
            <a:cxnSpLocks/>
            <a:stCxn id="173" idx="2"/>
          </p:cNvCxnSpPr>
          <p:nvPr userDrawn="1"/>
        </p:nvCxnSpPr>
        <p:spPr>
          <a:xfrm>
            <a:off x="4930274" y="1588139"/>
            <a:ext cx="0" cy="97748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Szöveg helye 16">
            <a:extLst>
              <a:ext uri="{FF2B5EF4-FFF2-40B4-BE49-F238E27FC236}">
                <a16:creationId xmlns:a16="http://schemas.microsoft.com/office/drawing/2014/main" id="{4EEBAB1C-0548-433D-8E4E-357576EDA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81144" y="1863041"/>
            <a:ext cx="1258702" cy="34950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177" name="Egyenes összekötő 176">
            <a:extLst>
              <a:ext uri="{FF2B5EF4-FFF2-40B4-BE49-F238E27FC236}">
                <a16:creationId xmlns:a16="http://schemas.microsoft.com/office/drawing/2014/main" id="{9DB853ED-32DD-4E0A-9EF8-B4544949C1DC}"/>
              </a:ext>
            </a:extLst>
          </p:cNvPr>
          <p:cNvCxnSpPr>
            <a:cxnSpLocks/>
          </p:cNvCxnSpPr>
          <p:nvPr userDrawn="1"/>
        </p:nvCxnSpPr>
        <p:spPr>
          <a:xfrm>
            <a:off x="4935469" y="2285143"/>
            <a:ext cx="0" cy="106397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Egyenes összekötő 177">
            <a:extLst>
              <a:ext uri="{FF2B5EF4-FFF2-40B4-BE49-F238E27FC236}">
                <a16:creationId xmlns:a16="http://schemas.microsoft.com/office/drawing/2014/main" id="{4A00EE40-A560-4B4E-B787-9E6FD4C8C27B}"/>
              </a:ext>
            </a:extLst>
          </p:cNvPr>
          <p:cNvCxnSpPr>
            <a:cxnSpLocks/>
          </p:cNvCxnSpPr>
          <p:nvPr userDrawn="1"/>
        </p:nvCxnSpPr>
        <p:spPr>
          <a:xfrm flipV="1">
            <a:off x="2422594" y="3366050"/>
            <a:ext cx="5007935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Egyenes összekötő 178">
            <a:extLst>
              <a:ext uri="{FF2B5EF4-FFF2-40B4-BE49-F238E27FC236}">
                <a16:creationId xmlns:a16="http://schemas.microsoft.com/office/drawing/2014/main" id="{04E06632-0C3C-481F-8565-D879279319C0}"/>
              </a:ext>
            </a:extLst>
          </p:cNvPr>
          <p:cNvCxnSpPr/>
          <p:nvPr userDrawn="1"/>
        </p:nvCxnSpPr>
        <p:spPr>
          <a:xfrm>
            <a:off x="4974719" y="1868654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Egyenes összekötő 179">
            <a:extLst>
              <a:ext uri="{FF2B5EF4-FFF2-40B4-BE49-F238E27FC236}">
                <a16:creationId xmlns:a16="http://schemas.microsoft.com/office/drawing/2014/main" id="{CEB7AD67-2505-40E5-918C-D61D3788D7A5}"/>
              </a:ext>
            </a:extLst>
          </p:cNvPr>
          <p:cNvCxnSpPr/>
          <p:nvPr userDrawn="1"/>
        </p:nvCxnSpPr>
        <p:spPr>
          <a:xfrm>
            <a:off x="3622741" y="1863041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1" name="Tartalom helye 8">
            <a:extLst>
              <a:ext uri="{FF2B5EF4-FFF2-40B4-BE49-F238E27FC236}">
                <a16:creationId xmlns:a16="http://schemas.microsoft.com/office/drawing/2014/main" id="{AB91156A-7D7B-49B4-A7D8-1D41CAA8AF01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981144" y="1643917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182" name="Tartalom helye 8">
            <a:extLst>
              <a:ext uri="{FF2B5EF4-FFF2-40B4-BE49-F238E27FC236}">
                <a16:creationId xmlns:a16="http://schemas.microsoft.com/office/drawing/2014/main" id="{618131AA-B20F-4520-894C-C6E16D4733E9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3616519" y="1634448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 err="1"/>
              <a:t>Client</a:t>
            </a:r>
            <a:endParaRPr lang="hu-HU" dirty="0"/>
          </a:p>
        </p:txBody>
      </p:sp>
      <p:sp>
        <p:nvSpPr>
          <p:cNvPr id="183" name="Szöveg helye 5">
            <a:extLst>
              <a:ext uri="{FF2B5EF4-FFF2-40B4-BE49-F238E27FC236}">
                <a16:creationId xmlns:a16="http://schemas.microsoft.com/office/drawing/2014/main" id="{E63D2853-6FCC-433E-9B43-CE746153938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612110" y="2284048"/>
            <a:ext cx="2632307" cy="288934"/>
          </a:xfrm>
          <a:solidFill>
            <a:srgbClr val="B00402"/>
          </a:solidFill>
        </p:spPr>
        <p:txBody>
          <a:bodyPr lIns="0" tIns="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E.ON</a:t>
            </a:r>
          </a:p>
        </p:txBody>
      </p:sp>
      <p:sp>
        <p:nvSpPr>
          <p:cNvPr id="184" name="Szöveg helye 16">
            <a:extLst>
              <a:ext uri="{FF2B5EF4-FFF2-40B4-BE49-F238E27FC236}">
                <a16:creationId xmlns:a16="http://schemas.microsoft.com/office/drawing/2014/main" id="{122C5FC2-3403-4603-81C2-7C5806AFDED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613202" y="2859835"/>
            <a:ext cx="1258702" cy="344302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  <a:lvl2pPr marL="285751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200"/>
            </a:lvl2pPr>
          </a:lstStyle>
          <a:p>
            <a:pPr lvl="1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sp>
        <p:nvSpPr>
          <p:cNvPr id="185" name="Szöveg helye 16">
            <a:extLst>
              <a:ext uri="{FF2B5EF4-FFF2-40B4-BE49-F238E27FC236}">
                <a16:creationId xmlns:a16="http://schemas.microsoft.com/office/drawing/2014/main" id="{424121CB-5D73-4D22-826A-45E3C7DD3F1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979701" y="2854221"/>
            <a:ext cx="1258702" cy="349916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186" name="Egyenes összekötő 185">
            <a:extLst>
              <a:ext uri="{FF2B5EF4-FFF2-40B4-BE49-F238E27FC236}">
                <a16:creationId xmlns:a16="http://schemas.microsoft.com/office/drawing/2014/main" id="{6322C162-E3D1-4386-A7C0-C30755EC8828}"/>
              </a:ext>
            </a:extLst>
          </p:cNvPr>
          <p:cNvCxnSpPr/>
          <p:nvPr userDrawn="1"/>
        </p:nvCxnSpPr>
        <p:spPr>
          <a:xfrm>
            <a:off x="4973276" y="2859834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Egyenes összekötő 186">
            <a:extLst>
              <a:ext uri="{FF2B5EF4-FFF2-40B4-BE49-F238E27FC236}">
                <a16:creationId xmlns:a16="http://schemas.microsoft.com/office/drawing/2014/main" id="{784C6F57-DB21-459B-AC41-E8FE8D792D1B}"/>
              </a:ext>
            </a:extLst>
          </p:cNvPr>
          <p:cNvCxnSpPr/>
          <p:nvPr userDrawn="1"/>
        </p:nvCxnSpPr>
        <p:spPr>
          <a:xfrm>
            <a:off x="3616913" y="2859834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8" name="Tartalom helye 8">
            <a:extLst>
              <a:ext uri="{FF2B5EF4-FFF2-40B4-BE49-F238E27FC236}">
                <a16:creationId xmlns:a16="http://schemas.microsoft.com/office/drawing/2014/main" id="{7C787A5F-C44F-4CA4-AE30-15A85E0F9CFD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4979701" y="2635097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189" name="Tartalom helye 8">
            <a:extLst>
              <a:ext uri="{FF2B5EF4-FFF2-40B4-BE49-F238E27FC236}">
                <a16:creationId xmlns:a16="http://schemas.microsoft.com/office/drawing/2014/main" id="{F1AC3660-6E92-49A0-AB87-0A7B84DD1F14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3610691" y="2631241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 err="1"/>
              <a:t>Client</a:t>
            </a:r>
            <a:endParaRPr lang="hu-HU" dirty="0"/>
          </a:p>
        </p:txBody>
      </p:sp>
      <p:sp>
        <p:nvSpPr>
          <p:cNvPr id="190" name="Szöveg helye 16">
            <a:extLst>
              <a:ext uri="{FF2B5EF4-FFF2-40B4-BE49-F238E27FC236}">
                <a16:creationId xmlns:a16="http://schemas.microsoft.com/office/drawing/2014/main" id="{1B49AE26-6FD9-4E37-8269-237D47CBDCC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59501" y="2844597"/>
            <a:ext cx="1258702" cy="359540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191" name="Egyenes összekötő 190">
            <a:extLst>
              <a:ext uri="{FF2B5EF4-FFF2-40B4-BE49-F238E27FC236}">
                <a16:creationId xmlns:a16="http://schemas.microsoft.com/office/drawing/2014/main" id="{01C85492-5482-4428-98B1-FB9581AB563B}"/>
              </a:ext>
            </a:extLst>
          </p:cNvPr>
          <p:cNvCxnSpPr/>
          <p:nvPr userDrawn="1"/>
        </p:nvCxnSpPr>
        <p:spPr>
          <a:xfrm>
            <a:off x="6447575" y="2855022"/>
            <a:ext cx="125870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2" name="Tartalom helye 8">
            <a:extLst>
              <a:ext uri="{FF2B5EF4-FFF2-40B4-BE49-F238E27FC236}">
                <a16:creationId xmlns:a16="http://schemas.microsoft.com/office/drawing/2014/main" id="{049C819D-E5D3-4B80-80E1-5264FA2B3BFA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6454000" y="2630285"/>
            <a:ext cx="1258888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cxnSp>
        <p:nvCxnSpPr>
          <p:cNvPr id="193" name="Egyenes összekötő 192">
            <a:extLst>
              <a:ext uri="{FF2B5EF4-FFF2-40B4-BE49-F238E27FC236}">
                <a16:creationId xmlns:a16="http://schemas.microsoft.com/office/drawing/2014/main" id="{61125CDB-7D21-4DA5-A868-AFE58DE53650}"/>
              </a:ext>
            </a:extLst>
          </p:cNvPr>
          <p:cNvCxnSpPr/>
          <p:nvPr userDrawn="1"/>
        </p:nvCxnSpPr>
        <p:spPr>
          <a:xfrm>
            <a:off x="2422594" y="3364692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Egyenes összekötő 193">
            <a:extLst>
              <a:ext uri="{FF2B5EF4-FFF2-40B4-BE49-F238E27FC236}">
                <a16:creationId xmlns:a16="http://schemas.microsoft.com/office/drawing/2014/main" id="{A87672C7-AA87-489B-9ED3-272D6F744B4B}"/>
              </a:ext>
            </a:extLst>
          </p:cNvPr>
          <p:cNvCxnSpPr/>
          <p:nvPr userDrawn="1"/>
        </p:nvCxnSpPr>
        <p:spPr>
          <a:xfrm>
            <a:off x="7436773" y="335949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Egyenes összekötő 194">
            <a:extLst>
              <a:ext uri="{FF2B5EF4-FFF2-40B4-BE49-F238E27FC236}">
                <a16:creationId xmlns:a16="http://schemas.microsoft.com/office/drawing/2014/main" id="{0AF31F4C-E7D7-4FCC-B19A-155A48E59491}"/>
              </a:ext>
            </a:extLst>
          </p:cNvPr>
          <p:cNvCxnSpPr/>
          <p:nvPr userDrawn="1"/>
        </p:nvCxnSpPr>
        <p:spPr>
          <a:xfrm>
            <a:off x="4267564" y="3364692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Egyenes összekötő 195">
            <a:extLst>
              <a:ext uri="{FF2B5EF4-FFF2-40B4-BE49-F238E27FC236}">
                <a16:creationId xmlns:a16="http://schemas.microsoft.com/office/drawing/2014/main" id="{77658786-A5F2-4EF1-A090-D3D619757DD7}"/>
              </a:ext>
            </a:extLst>
          </p:cNvPr>
          <p:cNvCxnSpPr>
            <a:cxnSpLocks/>
          </p:cNvCxnSpPr>
          <p:nvPr userDrawn="1"/>
        </p:nvCxnSpPr>
        <p:spPr>
          <a:xfrm>
            <a:off x="5592405" y="336988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Szöveg helye 5">
            <a:extLst>
              <a:ext uri="{FF2B5EF4-FFF2-40B4-BE49-F238E27FC236}">
                <a16:creationId xmlns:a16="http://schemas.microsoft.com/office/drawing/2014/main" id="{683A0DDF-27C8-4358-9BDE-A0FC1B1876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59520" y="3438965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198" name="Szöveg helye 5">
            <a:extLst>
              <a:ext uri="{FF2B5EF4-FFF2-40B4-BE49-F238E27FC236}">
                <a16:creationId xmlns:a16="http://schemas.microsoft.com/office/drawing/2014/main" id="{0B2D7D0F-0FD7-43C9-9F4B-FA588CFDB1D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679174" y="3443746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199" name="Szöveg helye 5">
            <a:extLst>
              <a:ext uri="{FF2B5EF4-FFF2-40B4-BE49-F238E27FC236}">
                <a16:creationId xmlns:a16="http://schemas.microsoft.com/office/drawing/2014/main" id="{0DAB6698-0DEE-428B-97CB-CAA1A98B400D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5004015" y="3443746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200" name="Szöveg helye 5">
            <a:extLst>
              <a:ext uri="{FF2B5EF4-FFF2-40B4-BE49-F238E27FC236}">
                <a16:creationId xmlns:a16="http://schemas.microsoft.com/office/drawing/2014/main" id="{0324C10F-C37C-40E0-A0D4-27EC5C802AB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769184" y="3435742"/>
            <a:ext cx="1176779" cy="215964"/>
          </a:xfrm>
          <a:solidFill>
            <a:srgbClr val="5CC1CB"/>
          </a:solidFill>
        </p:spPr>
        <p:txBody>
          <a:bodyPr lIns="3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endParaRPr lang="hu-HU" dirty="0"/>
          </a:p>
        </p:txBody>
      </p:sp>
      <p:sp>
        <p:nvSpPr>
          <p:cNvPr id="201" name="Szöveg helye 16">
            <a:extLst>
              <a:ext uri="{FF2B5EF4-FFF2-40B4-BE49-F238E27FC236}">
                <a16:creationId xmlns:a16="http://schemas.microsoft.com/office/drawing/2014/main" id="{A99A730F-65B8-40A2-87CC-9B8BAE0BB01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769184" y="3911725"/>
            <a:ext cx="1176779" cy="331126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202" name="Egyenes összekötő 201">
            <a:extLst>
              <a:ext uri="{FF2B5EF4-FFF2-40B4-BE49-F238E27FC236}">
                <a16:creationId xmlns:a16="http://schemas.microsoft.com/office/drawing/2014/main" id="{C352B25A-7DA4-427B-AA3A-530934A31D62}"/>
              </a:ext>
            </a:extLst>
          </p:cNvPr>
          <p:cNvCxnSpPr>
            <a:cxnSpLocks/>
          </p:cNvCxnSpPr>
          <p:nvPr userDrawn="1"/>
        </p:nvCxnSpPr>
        <p:spPr>
          <a:xfrm>
            <a:off x="6762759" y="3917338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3" name="Tartalom helye 8">
            <a:extLst>
              <a:ext uri="{FF2B5EF4-FFF2-40B4-BE49-F238E27FC236}">
                <a16:creationId xmlns:a16="http://schemas.microsoft.com/office/drawing/2014/main" id="{E1243D15-2E46-4C12-9E88-5DAC64C0C0FC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769184" y="3692601"/>
            <a:ext cx="1176953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204" name="Szöveg helye 16">
            <a:extLst>
              <a:ext uri="{FF2B5EF4-FFF2-40B4-BE49-F238E27FC236}">
                <a16:creationId xmlns:a16="http://schemas.microsoft.com/office/drawing/2014/main" id="{B3CF9BD2-D54D-4189-9CF3-1902A582310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004015" y="3906913"/>
            <a:ext cx="1176779" cy="331126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205" name="Egyenes összekötő 204">
            <a:extLst>
              <a:ext uri="{FF2B5EF4-FFF2-40B4-BE49-F238E27FC236}">
                <a16:creationId xmlns:a16="http://schemas.microsoft.com/office/drawing/2014/main" id="{97F6CD42-04F7-4847-8439-3BECDD26D756}"/>
              </a:ext>
            </a:extLst>
          </p:cNvPr>
          <p:cNvCxnSpPr>
            <a:cxnSpLocks/>
          </p:cNvCxnSpPr>
          <p:nvPr userDrawn="1"/>
        </p:nvCxnSpPr>
        <p:spPr>
          <a:xfrm>
            <a:off x="4997590" y="3912526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6" name="Tartalom helye 8">
            <a:extLst>
              <a:ext uri="{FF2B5EF4-FFF2-40B4-BE49-F238E27FC236}">
                <a16:creationId xmlns:a16="http://schemas.microsoft.com/office/drawing/2014/main" id="{06F4978C-519D-41FD-89D4-1D843981D13A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004015" y="3687789"/>
            <a:ext cx="1176953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213" name="Szöveg helye 16">
            <a:extLst>
              <a:ext uri="{FF2B5EF4-FFF2-40B4-BE49-F238E27FC236}">
                <a16:creationId xmlns:a16="http://schemas.microsoft.com/office/drawing/2014/main" id="{F8FD88BC-60CF-4884-8AF8-8C1EDC691591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679174" y="3912548"/>
            <a:ext cx="1176779" cy="331126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214" name="Egyenes összekötő 213">
            <a:extLst>
              <a:ext uri="{FF2B5EF4-FFF2-40B4-BE49-F238E27FC236}">
                <a16:creationId xmlns:a16="http://schemas.microsoft.com/office/drawing/2014/main" id="{14AB50D8-0DBC-412D-896E-D332F47CB791}"/>
              </a:ext>
            </a:extLst>
          </p:cNvPr>
          <p:cNvCxnSpPr>
            <a:cxnSpLocks/>
          </p:cNvCxnSpPr>
          <p:nvPr userDrawn="1"/>
        </p:nvCxnSpPr>
        <p:spPr>
          <a:xfrm>
            <a:off x="3672749" y="3918161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artalom helye 8">
            <a:extLst>
              <a:ext uri="{FF2B5EF4-FFF2-40B4-BE49-F238E27FC236}">
                <a16:creationId xmlns:a16="http://schemas.microsoft.com/office/drawing/2014/main" id="{6EA2599A-470D-4944-A92D-0420A515C654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3679174" y="3693424"/>
            <a:ext cx="1176953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sp>
        <p:nvSpPr>
          <p:cNvPr id="216" name="Szöveg helye 16">
            <a:extLst>
              <a:ext uri="{FF2B5EF4-FFF2-40B4-BE49-F238E27FC236}">
                <a16:creationId xmlns:a16="http://schemas.microsoft.com/office/drawing/2014/main" id="{C3EBE85F-DD0D-4A53-9C1D-64EA27BE6CEF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864312" y="3907736"/>
            <a:ext cx="1176779" cy="331126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050">
                <a:latin typeface="+mn-lt"/>
              </a:defRPr>
            </a:lvl1pPr>
          </a:lstStyle>
          <a:p>
            <a:pPr lvl="0"/>
            <a:r>
              <a:rPr lang="hu-HU" dirty="0"/>
              <a:t>N.N.</a:t>
            </a:r>
          </a:p>
          <a:p>
            <a:pPr lvl="0"/>
            <a:r>
              <a:rPr lang="hu-HU" dirty="0"/>
              <a:t>N.N.</a:t>
            </a:r>
          </a:p>
          <a:p>
            <a:pPr lvl="0"/>
            <a:endParaRPr lang="hu-HU" dirty="0"/>
          </a:p>
        </p:txBody>
      </p:sp>
      <p:cxnSp>
        <p:nvCxnSpPr>
          <p:cNvPr id="217" name="Egyenes összekötő 216">
            <a:extLst>
              <a:ext uri="{FF2B5EF4-FFF2-40B4-BE49-F238E27FC236}">
                <a16:creationId xmlns:a16="http://schemas.microsoft.com/office/drawing/2014/main" id="{68056AC7-0822-4684-B1F8-FC9B4AB2DC80}"/>
              </a:ext>
            </a:extLst>
          </p:cNvPr>
          <p:cNvCxnSpPr>
            <a:cxnSpLocks/>
          </p:cNvCxnSpPr>
          <p:nvPr userDrawn="1"/>
        </p:nvCxnSpPr>
        <p:spPr>
          <a:xfrm>
            <a:off x="1857887" y="3913349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8" name="Tartalom helye 8">
            <a:extLst>
              <a:ext uri="{FF2B5EF4-FFF2-40B4-BE49-F238E27FC236}">
                <a16:creationId xmlns:a16="http://schemas.microsoft.com/office/drawing/2014/main" id="{F1C9E095-48BE-4078-BCBD-28D3AA9CF854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1864312" y="3688612"/>
            <a:ext cx="1176953" cy="214312"/>
          </a:xfr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hu-HU" dirty="0"/>
              <a:t>ECON</a:t>
            </a:r>
          </a:p>
        </p:txBody>
      </p:sp>
      <p:cxnSp>
        <p:nvCxnSpPr>
          <p:cNvPr id="34" name="Egyenes összekötő 33">
            <a:extLst>
              <a:ext uri="{FF2B5EF4-FFF2-40B4-BE49-F238E27FC236}">
                <a16:creationId xmlns:a16="http://schemas.microsoft.com/office/drawing/2014/main" id="{1BC42E0C-E77B-4D49-BF70-11F2030ECCCB}"/>
              </a:ext>
            </a:extLst>
          </p:cNvPr>
          <p:cNvCxnSpPr/>
          <p:nvPr userDrawn="1"/>
        </p:nvCxnSpPr>
        <p:spPr>
          <a:xfrm>
            <a:off x="3558886" y="3518864"/>
            <a:ext cx="0" cy="140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Egyenes összekötő 224">
            <a:extLst>
              <a:ext uri="{FF2B5EF4-FFF2-40B4-BE49-F238E27FC236}">
                <a16:creationId xmlns:a16="http://schemas.microsoft.com/office/drawing/2014/main" id="{2931632E-5B3B-4D31-9F03-6A4A2A5B62BF}"/>
              </a:ext>
            </a:extLst>
          </p:cNvPr>
          <p:cNvCxnSpPr>
            <a:cxnSpLocks/>
          </p:cNvCxnSpPr>
          <p:nvPr userDrawn="1"/>
        </p:nvCxnSpPr>
        <p:spPr>
          <a:xfrm>
            <a:off x="6762759" y="4405746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Egyenes összekötő 225">
            <a:extLst>
              <a:ext uri="{FF2B5EF4-FFF2-40B4-BE49-F238E27FC236}">
                <a16:creationId xmlns:a16="http://schemas.microsoft.com/office/drawing/2014/main" id="{688CEAC8-F8A3-43E2-B15F-364AAF826034}"/>
              </a:ext>
            </a:extLst>
          </p:cNvPr>
          <p:cNvCxnSpPr>
            <a:cxnSpLocks/>
          </p:cNvCxnSpPr>
          <p:nvPr userDrawn="1"/>
        </p:nvCxnSpPr>
        <p:spPr>
          <a:xfrm>
            <a:off x="6769358" y="4532133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Egyenes összekötő 226">
            <a:extLst>
              <a:ext uri="{FF2B5EF4-FFF2-40B4-BE49-F238E27FC236}">
                <a16:creationId xmlns:a16="http://schemas.microsoft.com/office/drawing/2014/main" id="{C6E90162-D17B-4872-8C3E-B97B783CDDAB}"/>
              </a:ext>
            </a:extLst>
          </p:cNvPr>
          <p:cNvCxnSpPr>
            <a:cxnSpLocks/>
          </p:cNvCxnSpPr>
          <p:nvPr userDrawn="1"/>
        </p:nvCxnSpPr>
        <p:spPr>
          <a:xfrm>
            <a:off x="6769358" y="4679850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Egyenes összekötő 227">
            <a:extLst>
              <a:ext uri="{FF2B5EF4-FFF2-40B4-BE49-F238E27FC236}">
                <a16:creationId xmlns:a16="http://schemas.microsoft.com/office/drawing/2014/main" id="{400D7040-4FEE-46A7-84F6-2A8933DC7E65}"/>
              </a:ext>
            </a:extLst>
          </p:cNvPr>
          <p:cNvCxnSpPr>
            <a:cxnSpLocks/>
          </p:cNvCxnSpPr>
          <p:nvPr userDrawn="1"/>
        </p:nvCxnSpPr>
        <p:spPr>
          <a:xfrm>
            <a:off x="6769358" y="4833469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Egyenes összekötő 228">
            <a:extLst>
              <a:ext uri="{FF2B5EF4-FFF2-40B4-BE49-F238E27FC236}">
                <a16:creationId xmlns:a16="http://schemas.microsoft.com/office/drawing/2014/main" id="{7AF6EF7E-23AB-4346-A1B5-44D8F232E5CA}"/>
              </a:ext>
            </a:extLst>
          </p:cNvPr>
          <p:cNvCxnSpPr>
            <a:cxnSpLocks/>
          </p:cNvCxnSpPr>
          <p:nvPr userDrawn="1"/>
        </p:nvCxnSpPr>
        <p:spPr>
          <a:xfrm>
            <a:off x="6769358" y="4973747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Egyenes összekötő 47">
            <a:extLst>
              <a:ext uri="{FF2B5EF4-FFF2-40B4-BE49-F238E27FC236}">
                <a16:creationId xmlns:a16="http://schemas.microsoft.com/office/drawing/2014/main" id="{25FD44FA-5C18-4B9D-A09F-6CD84CD139C7}"/>
              </a:ext>
            </a:extLst>
          </p:cNvPr>
          <p:cNvCxnSpPr>
            <a:cxnSpLocks/>
          </p:cNvCxnSpPr>
          <p:nvPr userDrawn="1"/>
        </p:nvCxnSpPr>
        <p:spPr>
          <a:xfrm>
            <a:off x="6677890" y="4464388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Egyenes összekötő 229">
            <a:extLst>
              <a:ext uri="{FF2B5EF4-FFF2-40B4-BE49-F238E27FC236}">
                <a16:creationId xmlns:a16="http://schemas.microsoft.com/office/drawing/2014/main" id="{072F34BC-78D2-468D-BAC0-5D0AD82AF73D}"/>
              </a:ext>
            </a:extLst>
          </p:cNvPr>
          <p:cNvCxnSpPr>
            <a:cxnSpLocks/>
          </p:cNvCxnSpPr>
          <p:nvPr userDrawn="1"/>
        </p:nvCxnSpPr>
        <p:spPr>
          <a:xfrm>
            <a:off x="6677890" y="4616788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Egyenes összekötő 230">
            <a:extLst>
              <a:ext uri="{FF2B5EF4-FFF2-40B4-BE49-F238E27FC236}">
                <a16:creationId xmlns:a16="http://schemas.microsoft.com/office/drawing/2014/main" id="{E49E94FE-CBD5-4E7E-AF32-D21BB35C560B}"/>
              </a:ext>
            </a:extLst>
          </p:cNvPr>
          <p:cNvCxnSpPr>
            <a:cxnSpLocks/>
          </p:cNvCxnSpPr>
          <p:nvPr userDrawn="1"/>
        </p:nvCxnSpPr>
        <p:spPr>
          <a:xfrm>
            <a:off x="6677589" y="4762261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Egyenes összekötő 231">
            <a:extLst>
              <a:ext uri="{FF2B5EF4-FFF2-40B4-BE49-F238E27FC236}">
                <a16:creationId xmlns:a16="http://schemas.microsoft.com/office/drawing/2014/main" id="{35F80A8E-3ABC-4B09-82F1-6473299FBE10}"/>
              </a:ext>
            </a:extLst>
          </p:cNvPr>
          <p:cNvCxnSpPr>
            <a:cxnSpLocks/>
          </p:cNvCxnSpPr>
          <p:nvPr userDrawn="1"/>
        </p:nvCxnSpPr>
        <p:spPr>
          <a:xfrm>
            <a:off x="6672695" y="4917669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Szöveg helye 233">
            <a:extLst>
              <a:ext uri="{FF2B5EF4-FFF2-40B4-BE49-F238E27FC236}">
                <a16:creationId xmlns:a16="http://schemas.microsoft.com/office/drawing/2014/main" id="{00A04BDD-8B32-41FE-9DA7-F4394CB3CA9D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42670" y="4404945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36" name="Szöveg helye 233">
            <a:extLst>
              <a:ext uri="{FF2B5EF4-FFF2-40B4-BE49-F238E27FC236}">
                <a16:creationId xmlns:a16="http://schemas.microsoft.com/office/drawing/2014/main" id="{D7ADC53F-424F-4415-8DCA-487172D2EF0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845826" y="4547805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37" name="Szöveg helye 233">
            <a:extLst>
              <a:ext uri="{FF2B5EF4-FFF2-40B4-BE49-F238E27FC236}">
                <a16:creationId xmlns:a16="http://schemas.microsoft.com/office/drawing/2014/main" id="{8E7FC9A2-396F-4237-8230-3A1CD9D6F092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849495" y="4691769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38" name="Szöveg helye 233">
            <a:extLst>
              <a:ext uri="{FF2B5EF4-FFF2-40B4-BE49-F238E27FC236}">
                <a16:creationId xmlns:a16="http://schemas.microsoft.com/office/drawing/2014/main" id="{EBA0690E-7B58-4FBA-A999-61A46900A4B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6844003" y="4827567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239" name="Egyenes összekötő 238">
            <a:extLst>
              <a:ext uri="{FF2B5EF4-FFF2-40B4-BE49-F238E27FC236}">
                <a16:creationId xmlns:a16="http://schemas.microsoft.com/office/drawing/2014/main" id="{78D69E64-10ED-4F50-857F-18EFEC187593}"/>
              </a:ext>
            </a:extLst>
          </p:cNvPr>
          <p:cNvCxnSpPr>
            <a:cxnSpLocks/>
          </p:cNvCxnSpPr>
          <p:nvPr userDrawn="1"/>
        </p:nvCxnSpPr>
        <p:spPr>
          <a:xfrm>
            <a:off x="5017397" y="4405746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Egyenes összekötő 239">
            <a:extLst>
              <a:ext uri="{FF2B5EF4-FFF2-40B4-BE49-F238E27FC236}">
                <a16:creationId xmlns:a16="http://schemas.microsoft.com/office/drawing/2014/main" id="{6C14684D-D5F2-4591-B8B9-A024F352ECEB}"/>
              </a:ext>
            </a:extLst>
          </p:cNvPr>
          <p:cNvCxnSpPr>
            <a:cxnSpLocks/>
          </p:cNvCxnSpPr>
          <p:nvPr userDrawn="1"/>
        </p:nvCxnSpPr>
        <p:spPr>
          <a:xfrm>
            <a:off x="5023996" y="4532133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1" name="Egyenes összekötő 240">
            <a:extLst>
              <a:ext uri="{FF2B5EF4-FFF2-40B4-BE49-F238E27FC236}">
                <a16:creationId xmlns:a16="http://schemas.microsoft.com/office/drawing/2014/main" id="{C85533D7-8295-4452-A6A5-C589ED9D9424}"/>
              </a:ext>
            </a:extLst>
          </p:cNvPr>
          <p:cNvCxnSpPr>
            <a:cxnSpLocks/>
          </p:cNvCxnSpPr>
          <p:nvPr userDrawn="1"/>
        </p:nvCxnSpPr>
        <p:spPr>
          <a:xfrm>
            <a:off x="5023996" y="4679850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Egyenes összekötő 241">
            <a:extLst>
              <a:ext uri="{FF2B5EF4-FFF2-40B4-BE49-F238E27FC236}">
                <a16:creationId xmlns:a16="http://schemas.microsoft.com/office/drawing/2014/main" id="{5A1E4F70-5891-4153-8F24-42A779D0589F}"/>
              </a:ext>
            </a:extLst>
          </p:cNvPr>
          <p:cNvCxnSpPr>
            <a:cxnSpLocks/>
          </p:cNvCxnSpPr>
          <p:nvPr userDrawn="1"/>
        </p:nvCxnSpPr>
        <p:spPr>
          <a:xfrm>
            <a:off x="5023996" y="4833469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Egyenes összekötő 242">
            <a:extLst>
              <a:ext uri="{FF2B5EF4-FFF2-40B4-BE49-F238E27FC236}">
                <a16:creationId xmlns:a16="http://schemas.microsoft.com/office/drawing/2014/main" id="{A2CEB78F-4C87-49BB-9549-71687545AD0C}"/>
              </a:ext>
            </a:extLst>
          </p:cNvPr>
          <p:cNvCxnSpPr>
            <a:cxnSpLocks/>
          </p:cNvCxnSpPr>
          <p:nvPr userDrawn="1"/>
        </p:nvCxnSpPr>
        <p:spPr>
          <a:xfrm>
            <a:off x="5023996" y="4973747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Egyenes összekötő 243">
            <a:extLst>
              <a:ext uri="{FF2B5EF4-FFF2-40B4-BE49-F238E27FC236}">
                <a16:creationId xmlns:a16="http://schemas.microsoft.com/office/drawing/2014/main" id="{35F021BA-037B-4CE1-87F7-8C85C1C264D1}"/>
              </a:ext>
            </a:extLst>
          </p:cNvPr>
          <p:cNvCxnSpPr>
            <a:cxnSpLocks/>
          </p:cNvCxnSpPr>
          <p:nvPr userDrawn="1"/>
        </p:nvCxnSpPr>
        <p:spPr>
          <a:xfrm>
            <a:off x="4932528" y="4464388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Egyenes összekötő 244">
            <a:extLst>
              <a:ext uri="{FF2B5EF4-FFF2-40B4-BE49-F238E27FC236}">
                <a16:creationId xmlns:a16="http://schemas.microsoft.com/office/drawing/2014/main" id="{DB6F36EF-78E8-4C00-B2EF-A81E1B068E8E}"/>
              </a:ext>
            </a:extLst>
          </p:cNvPr>
          <p:cNvCxnSpPr>
            <a:cxnSpLocks/>
          </p:cNvCxnSpPr>
          <p:nvPr userDrawn="1"/>
        </p:nvCxnSpPr>
        <p:spPr>
          <a:xfrm>
            <a:off x="4932528" y="4616788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Egyenes összekötő 245">
            <a:extLst>
              <a:ext uri="{FF2B5EF4-FFF2-40B4-BE49-F238E27FC236}">
                <a16:creationId xmlns:a16="http://schemas.microsoft.com/office/drawing/2014/main" id="{DEEA0405-834D-4E65-BFDA-43E85C9B2DF2}"/>
              </a:ext>
            </a:extLst>
          </p:cNvPr>
          <p:cNvCxnSpPr>
            <a:cxnSpLocks/>
          </p:cNvCxnSpPr>
          <p:nvPr userDrawn="1"/>
        </p:nvCxnSpPr>
        <p:spPr>
          <a:xfrm>
            <a:off x="4932227" y="4762261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Egyenes összekötő 246">
            <a:extLst>
              <a:ext uri="{FF2B5EF4-FFF2-40B4-BE49-F238E27FC236}">
                <a16:creationId xmlns:a16="http://schemas.microsoft.com/office/drawing/2014/main" id="{35059E79-D966-46B4-8F20-57E449CB8EFC}"/>
              </a:ext>
            </a:extLst>
          </p:cNvPr>
          <p:cNvCxnSpPr>
            <a:cxnSpLocks/>
          </p:cNvCxnSpPr>
          <p:nvPr userDrawn="1"/>
        </p:nvCxnSpPr>
        <p:spPr>
          <a:xfrm>
            <a:off x="4927333" y="4917669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Szöveg helye 233">
            <a:extLst>
              <a:ext uri="{FF2B5EF4-FFF2-40B4-BE49-F238E27FC236}">
                <a16:creationId xmlns:a16="http://schemas.microsoft.com/office/drawing/2014/main" id="{AE4CFEA1-ED69-4825-B42C-1F81A17A70AF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097308" y="4404945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49" name="Szöveg helye 233">
            <a:extLst>
              <a:ext uri="{FF2B5EF4-FFF2-40B4-BE49-F238E27FC236}">
                <a16:creationId xmlns:a16="http://schemas.microsoft.com/office/drawing/2014/main" id="{BAEEA0CA-008E-42FB-B08B-160533219C98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5100464" y="4547805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50" name="Szöveg helye 233">
            <a:extLst>
              <a:ext uri="{FF2B5EF4-FFF2-40B4-BE49-F238E27FC236}">
                <a16:creationId xmlns:a16="http://schemas.microsoft.com/office/drawing/2014/main" id="{72429A72-A401-4186-850D-79E372CD441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104133" y="4691769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51" name="Szöveg helye 233">
            <a:extLst>
              <a:ext uri="{FF2B5EF4-FFF2-40B4-BE49-F238E27FC236}">
                <a16:creationId xmlns:a16="http://schemas.microsoft.com/office/drawing/2014/main" id="{3D82E1BB-BB80-4F96-910C-614B260CC217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5098641" y="4827567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252" name="Egyenes összekötő 251">
            <a:extLst>
              <a:ext uri="{FF2B5EF4-FFF2-40B4-BE49-F238E27FC236}">
                <a16:creationId xmlns:a16="http://schemas.microsoft.com/office/drawing/2014/main" id="{961B9DF7-A6AB-4EF2-9A00-D76044E3AE34}"/>
              </a:ext>
            </a:extLst>
          </p:cNvPr>
          <p:cNvCxnSpPr>
            <a:cxnSpLocks/>
          </p:cNvCxnSpPr>
          <p:nvPr userDrawn="1"/>
        </p:nvCxnSpPr>
        <p:spPr>
          <a:xfrm>
            <a:off x="3650795" y="4411648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3" name="Egyenes összekötő 252">
            <a:extLst>
              <a:ext uri="{FF2B5EF4-FFF2-40B4-BE49-F238E27FC236}">
                <a16:creationId xmlns:a16="http://schemas.microsoft.com/office/drawing/2014/main" id="{250F183B-1694-49C5-AD6D-83C932FD53AA}"/>
              </a:ext>
            </a:extLst>
          </p:cNvPr>
          <p:cNvCxnSpPr>
            <a:cxnSpLocks/>
          </p:cNvCxnSpPr>
          <p:nvPr userDrawn="1"/>
        </p:nvCxnSpPr>
        <p:spPr>
          <a:xfrm>
            <a:off x="3657394" y="4538035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Egyenes összekötő 253">
            <a:extLst>
              <a:ext uri="{FF2B5EF4-FFF2-40B4-BE49-F238E27FC236}">
                <a16:creationId xmlns:a16="http://schemas.microsoft.com/office/drawing/2014/main" id="{8B81B298-991C-4245-8C95-F63EC6B3876B}"/>
              </a:ext>
            </a:extLst>
          </p:cNvPr>
          <p:cNvCxnSpPr>
            <a:cxnSpLocks/>
          </p:cNvCxnSpPr>
          <p:nvPr userDrawn="1"/>
        </p:nvCxnSpPr>
        <p:spPr>
          <a:xfrm>
            <a:off x="3657394" y="4685752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Egyenes összekötő 254">
            <a:extLst>
              <a:ext uri="{FF2B5EF4-FFF2-40B4-BE49-F238E27FC236}">
                <a16:creationId xmlns:a16="http://schemas.microsoft.com/office/drawing/2014/main" id="{F4208AEF-B779-4D6C-AD81-921BB9A90E4B}"/>
              </a:ext>
            </a:extLst>
          </p:cNvPr>
          <p:cNvCxnSpPr>
            <a:cxnSpLocks/>
          </p:cNvCxnSpPr>
          <p:nvPr userDrawn="1"/>
        </p:nvCxnSpPr>
        <p:spPr>
          <a:xfrm>
            <a:off x="3657394" y="4839371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Egyenes összekötő 255">
            <a:extLst>
              <a:ext uri="{FF2B5EF4-FFF2-40B4-BE49-F238E27FC236}">
                <a16:creationId xmlns:a16="http://schemas.microsoft.com/office/drawing/2014/main" id="{43EA8260-54D1-4D87-9747-C311944A9782}"/>
              </a:ext>
            </a:extLst>
          </p:cNvPr>
          <p:cNvCxnSpPr>
            <a:cxnSpLocks/>
          </p:cNvCxnSpPr>
          <p:nvPr userDrawn="1"/>
        </p:nvCxnSpPr>
        <p:spPr>
          <a:xfrm>
            <a:off x="3657394" y="4979649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Egyenes összekötő 256">
            <a:extLst>
              <a:ext uri="{FF2B5EF4-FFF2-40B4-BE49-F238E27FC236}">
                <a16:creationId xmlns:a16="http://schemas.microsoft.com/office/drawing/2014/main" id="{1681D67B-3E8D-41F1-9252-80E3D7059389}"/>
              </a:ext>
            </a:extLst>
          </p:cNvPr>
          <p:cNvCxnSpPr>
            <a:cxnSpLocks/>
          </p:cNvCxnSpPr>
          <p:nvPr userDrawn="1"/>
        </p:nvCxnSpPr>
        <p:spPr>
          <a:xfrm>
            <a:off x="3565926" y="4470290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Egyenes összekötő 257">
            <a:extLst>
              <a:ext uri="{FF2B5EF4-FFF2-40B4-BE49-F238E27FC236}">
                <a16:creationId xmlns:a16="http://schemas.microsoft.com/office/drawing/2014/main" id="{CACECE2E-A34C-4310-B535-6184848121C9}"/>
              </a:ext>
            </a:extLst>
          </p:cNvPr>
          <p:cNvCxnSpPr>
            <a:cxnSpLocks/>
          </p:cNvCxnSpPr>
          <p:nvPr userDrawn="1"/>
        </p:nvCxnSpPr>
        <p:spPr>
          <a:xfrm>
            <a:off x="3565926" y="4622690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Egyenes összekötő 258">
            <a:extLst>
              <a:ext uri="{FF2B5EF4-FFF2-40B4-BE49-F238E27FC236}">
                <a16:creationId xmlns:a16="http://schemas.microsoft.com/office/drawing/2014/main" id="{51EB153D-F3E5-49E2-A003-841A780C12A5}"/>
              </a:ext>
            </a:extLst>
          </p:cNvPr>
          <p:cNvCxnSpPr>
            <a:cxnSpLocks/>
          </p:cNvCxnSpPr>
          <p:nvPr userDrawn="1"/>
        </p:nvCxnSpPr>
        <p:spPr>
          <a:xfrm>
            <a:off x="3565625" y="4768163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Egyenes összekötő 259">
            <a:extLst>
              <a:ext uri="{FF2B5EF4-FFF2-40B4-BE49-F238E27FC236}">
                <a16:creationId xmlns:a16="http://schemas.microsoft.com/office/drawing/2014/main" id="{63A5C511-B6F4-437D-8C87-A60C7D970DE5}"/>
              </a:ext>
            </a:extLst>
          </p:cNvPr>
          <p:cNvCxnSpPr>
            <a:cxnSpLocks/>
          </p:cNvCxnSpPr>
          <p:nvPr userDrawn="1"/>
        </p:nvCxnSpPr>
        <p:spPr>
          <a:xfrm>
            <a:off x="3560731" y="4923571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Szöveg helye 233">
            <a:extLst>
              <a:ext uri="{FF2B5EF4-FFF2-40B4-BE49-F238E27FC236}">
                <a16:creationId xmlns:a16="http://schemas.microsoft.com/office/drawing/2014/main" id="{3E18B674-C24A-4425-833E-BA9120E279B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730706" y="4410847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62" name="Szöveg helye 233">
            <a:extLst>
              <a:ext uri="{FF2B5EF4-FFF2-40B4-BE49-F238E27FC236}">
                <a16:creationId xmlns:a16="http://schemas.microsoft.com/office/drawing/2014/main" id="{686D10B9-11ED-4C79-9E6E-038D37012E0B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733862" y="4553707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63" name="Szöveg helye 233">
            <a:extLst>
              <a:ext uri="{FF2B5EF4-FFF2-40B4-BE49-F238E27FC236}">
                <a16:creationId xmlns:a16="http://schemas.microsoft.com/office/drawing/2014/main" id="{E63CE62D-8A67-4409-A47A-AAA8D10A962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737531" y="4697671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64" name="Szöveg helye 233">
            <a:extLst>
              <a:ext uri="{FF2B5EF4-FFF2-40B4-BE49-F238E27FC236}">
                <a16:creationId xmlns:a16="http://schemas.microsoft.com/office/drawing/2014/main" id="{E4BE6F88-3E51-43D4-AE23-8E71428C77C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732039" y="4833469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cxnSp>
        <p:nvCxnSpPr>
          <p:cNvPr id="265" name="Egyenes összekötő 264">
            <a:extLst>
              <a:ext uri="{FF2B5EF4-FFF2-40B4-BE49-F238E27FC236}">
                <a16:creationId xmlns:a16="http://schemas.microsoft.com/office/drawing/2014/main" id="{DBC8F1A1-A535-4C26-B3B3-60F8EE3303FA}"/>
              </a:ext>
            </a:extLst>
          </p:cNvPr>
          <p:cNvCxnSpPr>
            <a:cxnSpLocks/>
          </p:cNvCxnSpPr>
          <p:nvPr userDrawn="1"/>
        </p:nvCxnSpPr>
        <p:spPr>
          <a:xfrm>
            <a:off x="1887543" y="4408495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Egyenes összekötő 265">
            <a:extLst>
              <a:ext uri="{FF2B5EF4-FFF2-40B4-BE49-F238E27FC236}">
                <a16:creationId xmlns:a16="http://schemas.microsoft.com/office/drawing/2014/main" id="{151CF234-71CD-4EB8-B2E6-547C674A0132}"/>
              </a:ext>
            </a:extLst>
          </p:cNvPr>
          <p:cNvCxnSpPr>
            <a:cxnSpLocks/>
          </p:cNvCxnSpPr>
          <p:nvPr userDrawn="1"/>
        </p:nvCxnSpPr>
        <p:spPr>
          <a:xfrm>
            <a:off x="1894142" y="4534882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Egyenes összekötő 266">
            <a:extLst>
              <a:ext uri="{FF2B5EF4-FFF2-40B4-BE49-F238E27FC236}">
                <a16:creationId xmlns:a16="http://schemas.microsoft.com/office/drawing/2014/main" id="{2F7336EC-40E4-4A45-90A4-98390AC642CA}"/>
              </a:ext>
            </a:extLst>
          </p:cNvPr>
          <p:cNvCxnSpPr>
            <a:cxnSpLocks/>
          </p:cNvCxnSpPr>
          <p:nvPr userDrawn="1"/>
        </p:nvCxnSpPr>
        <p:spPr>
          <a:xfrm>
            <a:off x="1894142" y="4682599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Egyenes összekötő 267">
            <a:extLst>
              <a:ext uri="{FF2B5EF4-FFF2-40B4-BE49-F238E27FC236}">
                <a16:creationId xmlns:a16="http://schemas.microsoft.com/office/drawing/2014/main" id="{95B5C173-7517-4B4A-8C5E-C946D9A7CE8B}"/>
              </a:ext>
            </a:extLst>
          </p:cNvPr>
          <p:cNvCxnSpPr>
            <a:cxnSpLocks/>
          </p:cNvCxnSpPr>
          <p:nvPr userDrawn="1"/>
        </p:nvCxnSpPr>
        <p:spPr>
          <a:xfrm>
            <a:off x="1894142" y="4836218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Egyenes összekötő 268">
            <a:extLst>
              <a:ext uri="{FF2B5EF4-FFF2-40B4-BE49-F238E27FC236}">
                <a16:creationId xmlns:a16="http://schemas.microsoft.com/office/drawing/2014/main" id="{D7714BB3-89FC-40BC-BACD-9B2DAB729CB7}"/>
              </a:ext>
            </a:extLst>
          </p:cNvPr>
          <p:cNvCxnSpPr>
            <a:cxnSpLocks/>
          </p:cNvCxnSpPr>
          <p:nvPr userDrawn="1"/>
        </p:nvCxnSpPr>
        <p:spPr>
          <a:xfrm>
            <a:off x="1894142" y="4976496"/>
            <a:ext cx="1176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Egyenes összekötő 269">
            <a:extLst>
              <a:ext uri="{FF2B5EF4-FFF2-40B4-BE49-F238E27FC236}">
                <a16:creationId xmlns:a16="http://schemas.microsoft.com/office/drawing/2014/main" id="{55EABF84-DB84-4111-B331-6DEF2DB1CDD4}"/>
              </a:ext>
            </a:extLst>
          </p:cNvPr>
          <p:cNvCxnSpPr>
            <a:cxnSpLocks/>
          </p:cNvCxnSpPr>
          <p:nvPr userDrawn="1"/>
        </p:nvCxnSpPr>
        <p:spPr>
          <a:xfrm>
            <a:off x="1802674" y="4467137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Egyenes összekötő 270">
            <a:extLst>
              <a:ext uri="{FF2B5EF4-FFF2-40B4-BE49-F238E27FC236}">
                <a16:creationId xmlns:a16="http://schemas.microsoft.com/office/drawing/2014/main" id="{F474E474-4529-44A6-8121-53EABEF0D335}"/>
              </a:ext>
            </a:extLst>
          </p:cNvPr>
          <p:cNvCxnSpPr>
            <a:cxnSpLocks/>
          </p:cNvCxnSpPr>
          <p:nvPr userDrawn="1"/>
        </p:nvCxnSpPr>
        <p:spPr>
          <a:xfrm>
            <a:off x="1802674" y="4619537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Egyenes összekötő 271">
            <a:extLst>
              <a:ext uri="{FF2B5EF4-FFF2-40B4-BE49-F238E27FC236}">
                <a16:creationId xmlns:a16="http://schemas.microsoft.com/office/drawing/2014/main" id="{05BED1C1-B0B4-4BC1-B94C-6A1B04DA6BFE}"/>
              </a:ext>
            </a:extLst>
          </p:cNvPr>
          <p:cNvCxnSpPr>
            <a:cxnSpLocks/>
          </p:cNvCxnSpPr>
          <p:nvPr userDrawn="1"/>
        </p:nvCxnSpPr>
        <p:spPr>
          <a:xfrm>
            <a:off x="1802373" y="4765010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Egyenes összekötő 272">
            <a:extLst>
              <a:ext uri="{FF2B5EF4-FFF2-40B4-BE49-F238E27FC236}">
                <a16:creationId xmlns:a16="http://schemas.microsoft.com/office/drawing/2014/main" id="{C0176BEE-336A-46D5-92B2-38F0443F0A8B}"/>
              </a:ext>
            </a:extLst>
          </p:cNvPr>
          <p:cNvCxnSpPr>
            <a:cxnSpLocks/>
          </p:cNvCxnSpPr>
          <p:nvPr userDrawn="1"/>
        </p:nvCxnSpPr>
        <p:spPr>
          <a:xfrm>
            <a:off x="1797479" y="4920418"/>
            <a:ext cx="10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Szöveg helye 233">
            <a:extLst>
              <a:ext uri="{FF2B5EF4-FFF2-40B4-BE49-F238E27FC236}">
                <a16:creationId xmlns:a16="http://schemas.microsoft.com/office/drawing/2014/main" id="{628C1C54-AE8E-452D-BE18-CE85BD7C776D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967454" y="4407694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75" name="Szöveg helye 233">
            <a:extLst>
              <a:ext uri="{FF2B5EF4-FFF2-40B4-BE49-F238E27FC236}">
                <a16:creationId xmlns:a16="http://schemas.microsoft.com/office/drawing/2014/main" id="{E36A9FF7-F437-4218-AAB8-3F4F939DAEE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970610" y="4550554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76" name="Szöveg helye 233">
            <a:extLst>
              <a:ext uri="{FF2B5EF4-FFF2-40B4-BE49-F238E27FC236}">
                <a16:creationId xmlns:a16="http://schemas.microsoft.com/office/drawing/2014/main" id="{1118CCCB-69FE-4A3C-B01D-D399D8C1731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1974279" y="4694518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277" name="Szöveg helye 233">
            <a:extLst>
              <a:ext uri="{FF2B5EF4-FFF2-40B4-BE49-F238E27FC236}">
                <a16:creationId xmlns:a16="http://schemas.microsoft.com/office/drawing/2014/main" id="{953A5453-7868-4B3C-9536-C4C6D89ADEFC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1968787" y="4830316"/>
            <a:ext cx="1100137" cy="102285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574304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organization, responsibil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6" name="Egyenes összekötő 55">
            <a:extLst>
              <a:ext uri="{FF2B5EF4-FFF2-40B4-BE49-F238E27FC236}">
                <a16:creationId xmlns:a16="http://schemas.microsoft.com/office/drawing/2014/main" id="{233BF00B-C11D-45D8-B3F4-6BA46C89F658}"/>
              </a:ext>
            </a:extLst>
          </p:cNvPr>
          <p:cNvCxnSpPr/>
          <p:nvPr userDrawn="1"/>
        </p:nvCxnSpPr>
        <p:spPr>
          <a:xfrm>
            <a:off x="2415244" y="239894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40901750-A986-494F-95DC-7ACFC0ADC15D}"/>
              </a:ext>
            </a:extLst>
          </p:cNvPr>
          <p:cNvCxnSpPr>
            <a:cxnSpLocks/>
          </p:cNvCxnSpPr>
          <p:nvPr userDrawn="1"/>
        </p:nvCxnSpPr>
        <p:spPr>
          <a:xfrm>
            <a:off x="4884840" y="1412749"/>
            <a:ext cx="0" cy="9840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F8B002F5-CEA8-4CC2-96BF-ADDE39F24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2418045" y="2398946"/>
            <a:ext cx="5007935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FC948CF7-FF33-4660-8430-2F8D8894333F}"/>
              </a:ext>
            </a:extLst>
          </p:cNvPr>
          <p:cNvCxnSpPr/>
          <p:nvPr userDrawn="1"/>
        </p:nvCxnSpPr>
        <p:spPr>
          <a:xfrm>
            <a:off x="7421179" y="2395090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5">
            <a:extLst>
              <a:ext uri="{FF2B5EF4-FFF2-40B4-BE49-F238E27FC236}">
                <a16:creationId xmlns:a16="http://schemas.microsoft.com/office/drawing/2014/main" id="{44F283D8-2CB4-415D-8510-5B76A78DC1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26149" y="2514827"/>
            <a:ext cx="1440000" cy="2520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1</a:t>
            </a:r>
          </a:p>
        </p:txBody>
      </p:sp>
      <p:sp>
        <p:nvSpPr>
          <p:cNvPr id="55" name="Szöveg helye 21">
            <a:extLst>
              <a:ext uri="{FF2B5EF4-FFF2-40B4-BE49-F238E27FC236}">
                <a16:creationId xmlns:a16="http://schemas.microsoft.com/office/drawing/2014/main" id="{23DA3D22-0837-4C45-A5F7-5D10299833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759" y="2525903"/>
            <a:ext cx="1340580" cy="689372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Aft>
                <a:spcPts val="0"/>
              </a:spcAft>
              <a:defRPr sz="10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</a:t>
            </a:r>
          </a:p>
          <a:p>
            <a:pPr lvl="0"/>
            <a:r>
              <a:rPr lang="hu-HU" dirty="0" err="1"/>
              <a:t>Mangement</a:t>
            </a:r>
            <a:r>
              <a:rPr lang="hu-HU" dirty="0"/>
              <a:t>/</a:t>
            </a:r>
          </a:p>
        </p:txBody>
      </p:sp>
      <p:cxnSp>
        <p:nvCxnSpPr>
          <p:cNvPr id="63" name="Egyenes összekötő 62">
            <a:extLst>
              <a:ext uri="{FF2B5EF4-FFF2-40B4-BE49-F238E27FC236}">
                <a16:creationId xmlns:a16="http://schemas.microsoft.com/office/drawing/2014/main" id="{883D18FC-A4C9-4CAC-A2F7-02E27A7D576F}"/>
              </a:ext>
            </a:extLst>
          </p:cNvPr>
          <p:cNvCxnSpPr/>
          <p:nvPr userDrawn="1"/>
        </p:nvCxnSpPr>
        <p:spPr>
          <a:xfrm>
            <a:off x="5774020" y="2395090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Egyenes összekötő 63">
            <a:extLst>
              <a:ext uri="{FF2B5EF4-FFF2-40B4-BE49-F238E27FC236}">
                <a16:creationId xmlns:a16="http://schemas.microsoft.com/office/drawing/2014/main" id="{13DDE47B-E6BE-4326-A542-AB42B7F5B293}"/>
              </a:ext>
            </a:extLst>
          </p:cNvPr>
          <p:cNvCxnSpPr/>
          <p:nvPr userDrawn="1"/>
        </p:nvCxnSpPr>
        <p:spPr>
          <a:xfrm>
            <a:off x="4099059" y="2395089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zöveg helye 5">
            <a:extLst>
              <a:ext uri="{FF2B5EF4-FFF2-40B4-BE49-F238E27FC236}">
                <a16:creationId xmlns:a16="http://schemas.microsoft.com/office/drawing/2014/main" id="{08950B07-4E39-4BD8-B2DC-08DF25790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4479" y="1767494"/>
            <a:ext cx="2615065" cy="446400"/>
          </a:xfrm>
          <a:solidFill>
            <a:srgbClr val="B00402"/>
          </a:solidFill>
        </p:spPr>
        <p:txBody>
          <a:bodyPr lIns="72000" tIns="72000" bIns="7200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 lead</a:t>
            </a:r>
          </a:p>
        </p:txBody>
      </p:sp>
      <p:sp>
        <p:nvSpPr>
          <p:cNvPr id="37" name="Szöveg helye 5">
            <a:extLst>
              <a:ext uri="{FF2B5EF4-FFF2-40B4-BE49-F238E27FC236}">
                <a16:creationId xmlns:a16="http://schemas.microsoft.com/office/drawing/2014/main" id="{67F452B0-4022-4C06-8808-DB648F9B0E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9800" y="2518759"/>
            <a:ext cx="1440000" cy="2520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2</a:t>
            </a:r>
          </a:p>
        </p:txBody>
      </p:sp>
      <p:sp>
        <p:nvSpPr>
          <p:cNvPr id="14" name="Szöveg helye 5">
            <a:extLst>
              <a:ext uri="{FF2B5EF4-FFF2-40B4-BE49-F238E27FC236}">
                <a16:creationId xmlns:a16="http://schemas.microsoft.com/office/drawing/2014/main" id="{C1EFEA80-2404-44C6-8DF5-C4CFA806A8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4020" y="2525903"/>
            <a:ext cx="1440000" cy="2520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3</a:t>
            </a:r>
          </a:p>
        </p:txBody>
      </p:sp>
      <p:sp>
        <p:nvSpPr>
          <p:cNvPr id="41" name="Szöveg helye 5">
            <a:extLst>
              <a:ext uri="{FF2B5EF4-FFF2-40B4-BE49-F238E27FC236}">
                <a16:creationId xmlns:a16="http://schemas.microsoft.com/office/drawing/2014/main" id="{D9A94013-57FD-4EA3-B504-6C3F41E959A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01179" y="2539432"/>
            <a:ext cx="1440000" cy="2520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4</a:t>
            </a:r>
          </a:p>
        </p:txBody>
      </p:sp>
      <p:sp>
        <p:nvSpPr>
          <p:cNvPr id="74" name="Szöveg helye 21">
            <a:extLst>
              <a:ext uri="{FF2B5EF4-FFF2-40B4-BE49-F238E27FC236}">
                <a16:creationId xmlns:a16="http://schemas.microsoft.com/office/drawing/2014/main" id="{5C82E48D-0FD2-424A-8966-BFCCD03C55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7999" y="3246466"/>
            <a:ext cx="1342340" cy="644556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0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</a:t>
            </a:r>
          </a:p>
          <a:p>
            <a:pPr lvl="0"/>
            <a:r>
              <a:rPr lang="hu-HU" dirty="0" err="1"/>
              <a:t>Mangement</a:t>
            </a:r>
            <a:r>
              <a:rPr lang="hu-HU" dirty="0"/>
              <a:t>/</a:t>
            </a:r>
          </a:p>
        </p:txBody>
      </p:sp>
      <p:sp>
        <p:nvSpPr>
          <p:cNvPr id="75" name="Szöveg helye 21">
            <a:extLst>
              <a:ext uri="{FF2B5EF4-FFF2-40B4-BE49-F238E27FC236}">
                <a16:creationId xmlns:a16="http://schemas.microsoft.com/office/drawing/2014/main" id="{D2CC1487-3097-4CD0-8FF9-512410EFEF3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82882" y="3956314"/>
            <a:ext cx="1329501" cy="644157"/>
          </a:xfrm>
        </p:spPr>
        <p:txBody>
          <a:bodyPr anchor="ctr"/>
          <a:lstStyle>
            <a:lvl1pPr algn="l">
              <a:lnSpc>
                <a:spcPct val="100000"/>
              </a:lnSpc>
              <a:spcAft>
                <a:spcPts val="0"/>
              </a:spcAft>
              <a:defRPr sz="10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Project</a:t>
            </a:r>
          </a:p>
          <a:p>
            <a:pPr lvl="0"/>
            <a:r>
              <a:rPr lang="hu-HU" dirty="0" err="1"/>
              <a:t>Mangement</a:t>
            </a:r>
            <a:endParaRPr lang="hu-HU" dirty="0"/>
          </a:p>
        </p:txBody>
      </p:sp>
      <p:cxnSp>
        <p:nvCxnSpPr>
          <p:cNvPr id="5" name="Egyenes összekötő 4">
            <a:extLst>
              <a:ext uri="{FF2B5EF4-FFF2-40B4-BE49-F238E27FC236}">
                <a16:creationId xmlns:a16="http://schemas.microsoft.com/office/drawing/2014/main" id="{38981B53-CD8F-4D59-A056-3BC226C150C4}"/>
              </a:ext>
            </a:extLst>
          </p:cNvPr>
          <p:cNvCxnSpPr>
            <a:stCxn id="38" idx="1"/>
            <a:endCxn id="38" idx="1"/>
          </p:cNvCxnSpPr>
          <p:nvPr userDrawn="1"/>
        </p:nvCxnSpPr>
        <p:spPr>
          <a:xfrm>
            <a:off x="1726149" y="2640827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>
            <a:extLst>
              <a:ext uri="{FF2B5EF4-FFF2-40B4-BE49-F238E27FC236}">
                <a16:creationId xmlns:a16="http://schemas.microsoft.com/office/drawing/2014/main" id="{2A43DF40-2125-4590-A6BE-2AABBDCC18BB}"/>
              </a:ext>
            </a:extLst>
          </p:cNvPr>
          <p:cNvCxnSpPr>
            <a:stCxn id="38" idx="1"/>
            <a:endCxn id="38" idx="1"/>
          </p:cNvCxnSpPr>
          <p:nvPr userDrawn="1"/>
        </p:nvCxnSpPr>
        <p:spPr>
          <a:xfrm>
            <a:off x="1726149" y="2640827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8C4FB2F7-0D88-4A7D-9989-662C07DDD3B8}"/>
              </a:ext>
            </a:extLst>
          </p:cNvPr>
          <p:cNvCxnSpPr>
            <a:stCxn id="38" idx="1"/>
            <a:endCxn id="38" idx="1"/>
          </p:cNvCxnSpPr>
          <p:nvPr userDrawn="1"/>
        </p:nvCxnSpPr>
        <p:spPr>
          <a:xfrm>
            <a:off x="1726149" y="26408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Egyenes összekötő 91">
            <a:extLst>
              <a:ext uri="{FF2B5EF4-FFF2-40B4-BE49-F238E27FC236}">
                <a16:creationId xmlns:a16="http://schemas.microsoft.com/office/drawing/2014/main" id="{EBC749FF-F76A-4966-A0A1-9CF597C0F972}"/>
              </a:ext>
            </a:extLst>
          </p:cNvPr>
          <p:cNvCxnSpPr>
            <a:cxnSpLocks/>
          </p:cNvCxnSpPr>
          <p:nvPr userDrawn="1"/>
        </p:nvCxnSpPr>
        <p:spPr>
          <a:xfrm>
            <a:off x="1721086" y="3246466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Egyenes összekötő 92">
            <a:extLst>
              <a:ext uri="{FF2B5EF4-FFF2-40B4-BE49-F238E27FC236}">
                <a16:creationId xmlns:a16="http://schemas.microsoft.com/office/drawing/2014/main" id="{F4C2B334-6ABB-46D4-8A07-F3FED1604A63}"/>
              </a:ext>
            </a:extLst>
          </p:cNvPr>
          <p:cNvCxnSpPr>
            <a:cxnSpLocks/>
          </p:cNvCxnSpPr>
          <p:nvPr userDrawn="1"/>
        </p:nvCxnSpPr>
        <p:spPr>
          <a:xfrm flipV="1">
            <a:off x="1721086" y="3932735"/>
            <a:ext cx="1438817" cy="364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Egyenes összekötő 95">
            <a:extLst>
              <a:ext uri="{FF2B5EF4-FFF2-40B4-BE49-F238E27FC236}">
                <a16:creationId xmlns:a16="http://schemas.microsoft.com/office/drawing/2014/main" id="{CB01D4FF-FE9D-4E77-B2B0-500816424951}"/>
              </a:ext>
            </a:extLst>
          </p:cNvPr>
          <p:cNvCxnSpPr>
            <a:cxnSpLocks/>
          </p:cNvCxnSpPr>
          <p:nvPr userDrawn="1"/>
        </p:nvCxnSpPr>
        <p:spPr>
          <a:xfrm flipV="1">
            <a:off x="1721086" y="4600470"/>
            <a:ext cx="1438817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Egyenes összekötő 104">
            <a:extLst>
              <a:ext uri="{FF2B5EF4-FFF2-40B4-BE49-F238E27FC236}">
                <a16:creationId xmlns:a16="http://schemas.microsoft.com/office/drawing/2014/main" id="{41507CDB-CA2D-46FD-99D9-D69E65F45975}"/>
              </a:ext>
            </a:extLst>
          </p:cNvPr>
          <p:cNvCxnSpPr/>
          <p:nvPr userDrawn="1"/>
        </p:nvCxnSpPr>
        <p:spPr>
          <a:xfrm>
            <a:off x="5029676" y="3246466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Egyenes összekötő 105">
            <a:extLst>
              <a:ext uri="{FF2B5EF4-FFF2-40B4-BE49-F238E27FC236}">
                <a16:creationId xmlns:a16="http://schemas.microsoft.com/office/drawing/2014/main" id="{01056623-3795-4BFB-ADEF-8F69182AC857}"/>
              </a:ext>
            </a:extLst>
          </p:cNvPr>
          <p:cNvCxnSpPr/>
          <p:nvPr userDrawn="1"/>
        </p:nvCxnSpPr>
        <p:spPr>
          <a:xfrm>
            <a:off x="5049828" y="3914564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Egyenes összekötő 108">
            <a:extLst>
              <a:ext uri="{FF2B5EF4-FFF2-40B4-BE49-F238E27FC236}">
                <a16:creationId xmlns:a16="http://schemas.microsoft.com/office/drawing/2014/main" id="{313D3B45-88D1-486D-A76C-60FF3946237C}"/>
              </a:ext>
            </a:extLst>
          </p:cNvPr>
          <p:cNvCxnSpPr/>
          <p:nvPr userDrawn="1"/>
        </p:nvCxnSpPr>
        <p:spPr>
          <a:xfrm>
            <a:off x="5034865" y="4591815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Egyenes összekötő 109">
            <a:extLst>
              <a:ext uri="{FF2B5EF4-FFF2-40B4-BE49-F238E27FC236}">
                <a16:creationId xmlns:a16="http://schemas.microsoft.com/office/drawing/2014/main" id="{BCEEB783-406E-4889-82DA-69E616A0AA9D}"/>
              </a:ext>
            </a:extLst>
          </p:cNvPr>
          <p:cNvCxnSpPr/>
          <p:nvPr userDrawn="1"/>
        </p:nvCxnSpPr>
        <p:spPr>
          <a:xfrm>
            <a:off x="6699891" y="3229954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Egyenes összekötő 110">
            <a:extLst>
              <a:ext uri="{FF2B5EF4-FFF2-40B4-BE49-F238E27FC236}">
                <a16:creationId xmlns:a16="http://schemas.microsoft.com/office/drawing/2014/main" id="{6A4E9640-5AB9-4AB4-A9C5-964FF80963EF}"/>
              </a:ext>
            </a:extLst>
          </p:cNvPr>
          <p:cNvCxnSpPr/>
          <p:nvPr userDrawn="1"/>
        </p:nvCxnSpPr>
        <p:spPr>
          <a:xfrm>
            <a:off x="6701788" y="3914564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Egyenes összekötő 113">
            <a:extLst>
              <a:ext uri="{FF2B5EF4-FFF2-40B4-BE49-F238E27FC236}">
                <a16:creationId xmlns:a16="http://schemas.microsoft.com/office/drawing/2014/main" id="{AF4A7AAF-A91A-461A-85B5-7D9798DF790D}"/>
              </a:ext>
            </a:extLst>
          </p:cNvPr>
          <p:cNvCxnSpPr/>
          <p:nvPr userDrawn="1"/>
        </p:nvCxnSpPr>
        <p:spPr>
          <a:xfrm>
            <a:off x="6705513" y="4590753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Egyenes összekötő 114">
            <a:extLst>
              <a:ext uri="{FF2B5EF4-FFF2-40B4-BE49-F238E27FC236}">
                <a16:creationId xmlns:a16="http://schemas.microsoft.com/office/drawing/2014/main" id="{79BB3350-D272-4D18-A521-D52AC2D18D4A}"/>
              </a:ext>
            </a:extLst>
          </p:cNvPr>
          <p:cNvCxnSpPr>
            <a:cxnSpLocks/>
          </p:cNvCxnSpPr>
          <p:nvPr userDrawn="1"/>
        </p:nvCxnSpPr>
        <p:spPr>
          <a:xfrm>
            <a:off x="3408512" y="3243492"/>
            <a:ext cx="14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Egyenes összekötő 115">
            <a:extLst>
              <a:ext uri="{FF2B5EF4-FFF2-40B4-BE49-F238E27FC236}">
                <a16:creationId xmlns:a16="http://schemas.microsoft.com/office/drawing/2014/main" id="{F6162EE7-8F65-4587-B244-DCB98F95593D}"/>
              </a:ext>
            </a:extLst>
          </p:cNvPr>
          <p:cNvCxnSpPr>
            <a:cxnSpLocks/>
          </p:cNvCxnSpPr>
          <p:nvPr userDrawn="1"/>
        </p:nvCxnSpPr>
        <p:spPr>
          <a:xfrm flipV="1">
            <a:off x="3403315" y="3920384"/>
            <a:ext cx="1438817" cy="364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Egyenes összekötő 118">
            <a:extLst>
              <a:ext uri="{FF2B5EF4-FFF2-40B4-BE49-F238E27FC236}">
                <a16:creationId xmlns:a16="http://schemas.microsoft.com/office/drawing/2014/main" id="{028303AB-2DD7-45FA-95E1-1DE5DE346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3409695" y="4591814"/>
            <a:ext cx="1438817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zöveg helye 5">
            <a:extLst>
              <a:ext uri="{FF2B5EF4-FFF2-40B4-BE49-F238E27FC236}">
                <a16:creationId xmlns:a16="http://schemas.microsoft.com/office/drawing/2014/main" id="{51ACF69A-F088-41DC-A429-691A6BA4B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2800" y="1243809"/>
            <a:ext cx="2611437" cy="446986"/>
          </a:xfrm>
          <a:solidFill>
            <a:srgbClr val="EA1C0A"/>
          </a:solidFill>
        </p:spPr>
        <p:txBody>
          <a:bodyPr lIns="72000" tIns="72000" bIns="7200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Steering</a:t>
            </a:r>
            <a:r>
              <a:rPr lang="hu-HU" dirty="0"/>
              <a:t> </a:t>
            </a:r>
            <a:r>
              <a:rPr lang="hu-HU" dirty="0" err="1"/>
              <a:t>Commitee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CAABF1CA-DAE9-4896-9A75-CB3529DACEF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721086" y="2934288"/>
            <a:ext cx="1411288" cy="2794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84" name="Szöveg helye 3">
            <a:extLst>
              <a:ext uri="{FF2B5EF4-FFF2-40B4-BE49-F238E27FC236}">
                <a16:creationId xmlns:a16="http://schemas.microsoft.com/office/drawing/2014/main" id="{F2F47E4D-6F59-4216-AEDB-EC914F4CBF0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383158" y="2934081"/>
            <a:ext cx="1411288" cy="2794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85" name="Szöveg helye 3">
            <a:extLst>
              <a:ext uri="{FF2B5EF4-FFF2-40B4-BE49-F238E27FC236}">
                <a16:creationId xmlns:a16="http://schemas.microsoft.com/office/drawing/2014/main" id="{CFC7B228-8533-4A3B-96A4-D754705614B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059878" y="2934416"/>
            <a:ext cx="1411288" cy="2794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90" name="Szöveg helye 3">
            <a:extLst>
              <a:ext uri="{FF2B5EF4-FFF2-40B4-BE49-F238E27FC236}">
                <a16:creationId xmlns:a16="http://schemas.microsoft.com/office/drawing/2014/main" id="{249F31CF-E0DB-4539-B4C1-2F9989465F3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96601" y="2950554"/>
            <a:ext cx="1411288" cy="2794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91" name="Szöveg helye 3">
            <a:extLst>
              <a:ext uri="{FF2B5EF4-FFF2-40B4-BE49-F238E27FC236}">
                <a16:creationId xmlns:a16="http://schemas.microsoft.com/office/drawing/2014/main" id="{9DBEC486-CD67-423E-AAF4-47AB8A0CDA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24687" y="3261215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97" name="Szöveg helye 3">
            <a:extLst>
              <a:ext uri="{FF2B5EF4-FFF2-40B4-BE49-F238E27FC236}">
                <a16:creationId xmlns:a16="http://schemas.microsoft.com/office/drawing/2014/main" id="{507CE57E-C930-4C3E-9F2D-58C2DD4EE29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83158" y="3268857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98" name="Szöveg helye 3">
            <a:extLst>
              <a:ext uri="{FF2B5EF4-FFF2-40B4-BE49-F238E27FC236}">
                <a16:creationId xmlns:a16="http://schemas.microsoft.com/office/drawing/2014/main" id="{5A0F0C9C-AA64-448A-ACCA-B9B216D766D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59878" y="3246466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99" name="Szöveg helye 3">
            <a:extLst>
              <a:ext uri="{FF2B5EF4-FFF2-40B4-BE49-F238E27FC236}">
                <a16:creationId xmlns:a16="http://schemas.microsoft.com/office/drawing/2014/main" id="{1998CA2C-D2AF-412C-90D0-FE69E3FF13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99891" y="3243492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100" name="Szöveg helye 3">
            <a:extLst>
              <a:ext uri="{FF2B5EF4-FFF2-40B4-BE49-F238E27FC236}">
                <a16:creationId xmlns:a16="http://schemas.microsoft.com/office/drawing/2014/main" id="{19AD1446-50AD-4272-A612-53A9C0A222B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721086" y="3934874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101" name="Szöveg helye 3">
            <a:extLst>
              <a:ext uri="{FF2B5EF4-FFF2-40B4-BE49-F238E27FC236}">
                <a16:creationId xmlns:a16="http://schemas.microsoft.com/office/drawing/2014/main" id="{BBA489C7-59C2-4CB0-A0D7-FA5584F6CD7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403315" y="3909349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102" name="Szöveg helye 3">
            <a:extLst>
              <a:ext uri="{FF2B5EF4-FFF2-40B4-BE49-F238E27FC236}">
                <a16:creationId xmlns:a16="http://schemas.microsoft.com/office/drawing/2014/main" id="{9010B889-CEC5-4024-8988-404AE88FA5B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058873" y="3903461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103" name="Szöveg helye 3">
            <a:extLst>
              <a:ext uri="{FF2B5EF4-FFF2-40B4-BE49-F238E27FC236}">
                <a16:creationId xmlns:a16="http://schemas.microsoft.com/office/drawing/2014/main" id="{BD55B65D-45F9-448E-A058-1EB75A6A1A2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700537" y="3941675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0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sp>
        <p:nvSpPr>
          <p:cNvPr id="58" name="Fußzeilenplatzhalter 6">
            <a:extLst>
              <a:ext uri="{FF2B5EF4-FFF2-40B4-BE49-F238E27FC236}">
                <a16:creationId xmlns:a16="http://schemas.microsoft.com/office/drawing/2014/main" id="{B650F244-9876-4603-A54E-60F0B94A5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57" name="Cím 1">
            <a:extLst>
              <a:ext uri="{FF2B5EF4-FFF2-40B4-BE49-F238E27FC236}">
                <a16:creationId xmlns:a16="http://schemas.microsoft.com/office/drawing/2014/main" id="{EE87ED36-210F-48A4-9892-607DDCB4C2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Project </a:t>
            </a:r>
            <a:r>
              <a:rPr lang="hu-HU" dirty="0" err="1"/>
              <a:t>organisation</a:t>
            </a:r>
            <a:r>
              <a:rPr lang="hu-HU" dirty="0"/>
              <a:t>, </a:t>
            </a:r>
            <a:r>
              <a:rPr lang="hu-HU" dirty="0" err="1"/>
              <a:t>responsibilities</a:t>
            </a:r>
            <a:br>
              <a:rPr lang="hu-HU" dirty="0"/>
            </a:br>
            <a:r>
              <a:rPr lang="hu-HU" dirty="0"/>
              <a:t>(</a:t>
            </a:r>
            <a:r>
              <a:rPr lang="hu-HU" dirty="0" err="1"/>
              <a:t>clearly</a:t>
            </a:r>
            <a:r>
              <a:rPr lang="hu-HU" dirty="0"/>
              <a:t> </a:t>
            </a:r>
            <a:r>
              <a:rPr lang="hu-HU" dirty="0" err="1"/>
              <a:t>defined</a:t>
            </a:r>
            <a:r>
              <a:rPr lang="hu-HU" dirty="0"/>
              <a:t> </a:t>
            </a:r>
            <a:r>
              <a:rPr lang="hu-HU" dirty="0" err="1"/>
              <a:t>objectives</a:t>
            </a:r>
            <a:r>
              <a:rPr lang="hu-HU" dirty="0"/>
              <a:t>)</a:t>
            </a:r>
          </a:p>
        </p:txBody>
      </p:sp>
      <p:cxnSp>
        <p:nvCxnSpPr>
          <p:cNvPr id="50" name="Egyenes összekötő 49">
            <a:extLst>
              <a:ext uri="{FF2B5EF4-FFF2-40B4-BE49-F238E27FC236}">
                <a16:creationId xmlns:a16="http://schemas.microsoft.com/office/drawing/2014/main" id="{C755B870-951C-48EF-9C22-889B7AEDFF16}"/>
              </a:ext>
            </a:extLst>
          </p:cNvPr>
          <p:cNvCxnSpPr>
            <a:cxnSpLocks/>
          </p:cNvCxnSpPr>
          <p:nvPr userDrawn="1"/>
        </p:nvCxnSpPr>
        <p:spPr>
          <a:xfrm flipV="1">
            <a:off x="377999" y="4600471"/>
            <a:ext cx="1152000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F8D3FB26-6B4E-46B0-9983-A407519A8712}"/>
              </a:ext>
            </a:extLst>
          </p:cNvPr>
          <p:cNvCxnSpPr>
            <a:cxnSpLocks/>
          </p:cNvCxnSpPr>
          <p:nvPr userDrawn="1"/>
        </p:nvCxnSpPr>
        <p:spPr>
          <a:xfrm flipV="1">
            <a:off x="382882" y="3932734"/>
            <a:ext cx="1152000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Egyenes összekötő 51">
            <a:extLst>
              <a:ext uri="{FF2B5EF4-FFF2-40B4-BE49-F238E27FC236}">
                <a16:creationId xmlns:a16="http://schemas.microsoft.com/office/drawing/2014/main" id="{0DD637EC-97CD-4FB7-B83A-E0D25973A7C1}"/>
              </a:ext>
            </a:extLst>
          </p:cNvPr>
          <p:cNvCxnSpPr>
            <a:cxnSpLocks/>
          </p:cNvCxnSpPr>
          <p:nvPr userDrawn="1"/>
        </p:nvCxnSpPr>
        <p:spPr>
          <a:xfrm flipV="1">
            <a:off x="373651" y="3246464"/>
            <a:ext cx="1152000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Egyenes összekötő 52">
            <a:extLst>
              <a:ext uri="{FF2B5EF4-FFF2-40B4-BE49-F238E27FC236}">
                <a16:creationId xmlns:a16="http://schemas.microsoft.com/office/drawing/2014/main" id="{7979C2B0-7F12-4CAB-AC56-50C5CA6B409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2882" y="2533268"/>
            <a:ext cx="1152000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Dia számának helye 4">
            <a:extLst>
              <a:ext uri="{FF2B5EF4-FFF2-40B4-BE49-F238E27FC236}">
                <a16:creationId xmlns:a16="http://schemas.microsoft.com/office/drawing/2014/main" id="{CAEADC76-56B0-431F-95E6-4D99A6825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52756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organization, responsibiliti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40901750-A986-494F-95DC-7ACFC0ADC15D}"/>
              </a:ext>
            </a:extLst>
          </p:cNvPr>
          <p:cNvCxnSpPr>
            <a:cxnSpLocks/>
          </p:cNvCxnSpPr>
          <p:nvPr userDrawn="1"/>
        </p:nvCxnSpPr>
        <p:spPr>
          <a:xfrm>
            <a:off x="4563357" y="1254477"/>
            <a:ext cx="0" cy="115911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F8B002F5-CEA8-4CC2-96BF-ADDE39F2434F}"/>
              </a:ext>
            </a:extLst>
          </p:cNvPr>
          <p:cNvCxnSpPr>
            <a:cxnSpLocks/>
          </p:cNvCxnSpPr>
          <p:nvPr userDrawn="1"/>
        </p:nvCxnSpPr>
        <p:spPr>
          <a:xfrm>
            <a:off x="1515140" y="2401582"/>
            <a:ext cx="619878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FC948CF7-FF33-4660-8430-2F8D8894333F}"/>
              </a:ext>
            </a:extLst>
          </p:cNvPr>
          <p:cNvCxnSpPr/>
          <p:nvPr userDrawn="1"/>
        </p:nvCxnSpPr>
        <p:spPr>
          <a:xfrm>
            <a:off x="6453511" y="2401581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5">
            <a:extLst>
              <a:ext uri="{FF2B5EF4-FFF2-40B4-BE49-F238E27FC236}">
                <a16:creationId xmlns:a16="http://schemas.microsoft.com/office/drawing/2014/main" id="{44F283D8-2CB4-415D-8510-5B76A78DC1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77045" y="2561302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1</a:t>
            </a:r>
          </a:p>
        </p:txBody>
      </p:sp>
      <p:cxnSp>
        <p:nvCxnSpPr>
          <p:cNvPr id="63" name="Egyenes összekötő 62">
            <a:extLst>
              <a:ext uri="{FF2B5EF4-FFF2-40B4-BE49-F238E27FC236}">
                <a16:creationId xmlns:a16="http://schemas.microsoft.com/office/drawing/2014/main" id="{883D18FC-A4C9-4CAC-A2F7-02E27A7D576F}"/>
              </a:ext>
            </a:extLst>
          </p:cNvPr>
          <p:cNvCxnSpPr/>
          <p:nvPr userDrawn="1"/>
        </p:nvCxnSpPr>
        <p:spPr>
          <a:xfrm>
            <a:off x="4028211" y="2413591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Egyenes összekötő 63">
            <a:extLst>
              <a:ext uri="{FF2B5EF4-FFF2-40B4-BE49-F238E27FC236}">
                <a16:creationId xmlns:a16="http://schemas.microsoft.com/office/drawing/2014/main" id="{13DDE47B-E6BE-4326-A542-AB42B7F5B293}"/>
              </a:ext>
            </a:extLst>
          </p:cNvPr>
          <p:cNvCxnSpPr/>
          <p:nvPr userDrawn="1"/>
        </p:nvCxnSpPr>
        <p:spPr>
          <a:xfrm>
            <a:off x="2813950" y="2404760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zöveg helye 5">
            <a:extLst>
              <a:ext uri="{FF2B5EF4-FFF2-40B4-BE49-F238E27FC236}">
                <a16:creationId xmlns:a16="http://schemas.microsoft.com/office/drawing/2014/main" id="{08950B07-4E39-4BD8-B2DC-08DF25790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1579" y="1797973"/>
            <a:ext cx="1077045" cy="446400"/>
          </a:xfrm>
          <a:solidFill>
            <a:srgbClr val="B00402"/>
          </a:solidFill>
        </p:spPr>
        <p:txBody>
          <a:bodyPr lIns="72000" tIns="72000" bIns="72000" anchor="ctr"/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Project lead</a:t>
            </a:r>
          </a:p>
        </p:txBody>
      </p:sp>
      <p:cxnSp>
        <p:nvCxnSpPr>
          <p:cNvPr id="5" name="Egyenes összekötő 4">
            <a:extLst>
              <a:ext uri="{FF2B5EF4-FFF2-40B4-BE49-F238E27FC236}">
                <a16:creationId xmlns:a16="http://schemas.microsoft.com/office/drawing/2014/main" id="{38981B53-CD8F-4D59-A056-3BC226C150C4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977045" y="2742902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>
            <a:extLst>
              <a:ext uri="{FF2B5EF4-FFF2-40B4-BE49-F238E27FC236}">
                <a16:creationId xmlns:a16="http://schemas.microsoft.com/office/drawing/2014/main" id="{2A43DF40-2125-4590-A6BE-2AABBDCC18BB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977045" y="2742902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8C4FB2F7-0D88-4A7D-9989-662C07DDD3B8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977045" y="2742902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zöveg helye 5">
            <a:extLst>
              <a:ext uri="{FF2B5EF4-FFF2-40B4-BE49-F238E27FC236}">
                <a16:creationId xmlns:a16="http://schemas.microsoft.com/office/drawing/2014/main" id="{51ACF69A-F088-41DC-A429-691A6BA4B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1579" y="1243259"/>
            <a:ext cx="2611437" cy="446986"/>
          </a:xfrm>
          <a:solidFill>
            <a:srgbClr val="EA1C0A"/>
          </a:solidFill>
        </p:spPr>
        <p:txBody>
          <a:bodyPr lIns="72000" tIns="72000" bIns="7200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Steering</a:t>
            </a:r>
            <a:r>
              <a:rPr lang="hu-HU" dirty="0"/>
              <a:t> </a:t>
            </a:r>
            <a:r>
              <a:rPr lang="hu-HU" dirty="0" err="1"/>
              <a:t>Commitee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54" name="Szöveg helye 5">
            <a:extLst>
              <a:ext uri="{FF2B5EF4-FFF2-40B4-BE49-F238E27FC236}">
                <a16:creationId xmlns:a16="http://schemas.microsoft.com/office/drawing/2014/main" id="{0D5D9F03-9F3B-4CED-8298-B0BF62BC04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796641" y="1793164"/>
            <a:ext cx="1046375" cy="446400"/>
          </a:xfrm>
          <a:solidFill>
            <a:srgbClr val="B00402"/>
          </a:solidFill>
        </p:spPr>
        <p:txBody>
          <a:bodyPr lIns="72000" tIns="72000" bIns="72000" anchor="ctr"/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Project lead</a:t>
            </a:r>
          </a:p>
        </p:txBody>
      </p:sp>
      <p:cxnSp>
        <p:nvCxnSpPr>
          <p:cNvPr id="9" name="Egyenes összekötő 8">
            <a:extLst>
              <a:ext uri="{FF2B5EF4-FFF2-40B4-BE49-F238E27FC236}">
                <a16:creationId xmlns:a16="http://schemas.microsoft.com/office/drawing/2014/main" id="{F23DAA20-057C-4D53-A520-C8F1A5BC50F2}"/>
              </a:ext>
            </a:extLst>
          </p:cNvPr>
          <p:cNvCxnSpPr>
            <a:cxnSpLocks/>
            <a:stCxn id="13" idx="3"/>
            <a:endCxn id="54" idx="1"/>
          </p:cNvCxnSpPr>
          <p:nvPr userDrawn="1"/>
        </p:nvCxnSpPr>
        <p:spPr>
          <a:xfrm flipV="1">
            <a:off x="4308624" y="2016364"/>
            <a:ext cx="488017" cy="480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Egyenes összekötő 64">
            <a:extLst>
              <a:ext uri="{FF2B5EF4-FFF2-40B4-BE49-F238E27FC236}">
                <a16:creationId xmlns:a16="http://schemas.microsoft.com/office/drawing/2014/main" id="{141E3501-1D6A-47BA-857D-E2BB37A7E832}"/>
              </a:ext>
            </a:extLst>
          </p:cNvPr>
          <p:cNvCxnSpPr/>
          <p:nvPr userDrawn="1"/>
        </p:nvCxnSpPr>
        <p:spPr>
          <a:xfrm>
            <a:off x="7714633" y="2401582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Egyenes összekötő 66">
            <a:extLst>
              <a:ext uri="{FF2B5EF4-FFF2-40B4-BE49-F238E27FC236}">
                <a16:creationId xmlns:a16="http://schemas.microsoft.com/office/drawing/2014/main" id="{0B0F9DCF-A180-4AF6-9F85-1E8916D0C174}"/>
              </a:ext>
            </a:extLst>
          </p:cNvPr>
          <p:cNvCxnSpPr/>
          <p:nvPr userDrawn="1"/>
        </p:nvCxnSpPr>
        <p:spPr>
          <a:xfrm>
            <a:off x="1515140" y="2401582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Szöveg helye 5">
            <a:extLst>
              <a:ext uri="{FF2B5EF4-FFF2-40B4-BE49-F238E27FC236}">
                <a16:creationId xmlns:a16="http://schemas.microsoft.com/office/drawing/2014/main" id="{2AFCD45B-AB71-4989-A1EE-58C52AB990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218531" y="2558933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lnSpc>
                <a:spcPct val="100000"/>
              </a:lnSpc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80" name="Szöveg helye 5">
            <a:extLst>
              <a:ext uri="{FF2B5EF4-FFF2-40B4-BE49-F238E27FC236}">
                <a16:creationId xmlns:a16="http://schemas.microsoft.com/office/drawing/2014/main" id="{1F49AD0F-BD8C-412D-9D7B-F5F9F49A67D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65057" y="2561004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81" name="Szöveg helye 5">
            <a:extLst>
              <a:ext uri="{FF2B5EF4-FFF2-40B4-BE49-F238E27FC236}">
                <a16:creationId xmlns:a16="http://schemas.microsoft.com/office/drawing/2014/main" id="{3FC5DA39-1342-460E-9D15-64BEDB81A33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712614" y="2561302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ex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82" name="Szöveg helye 5">
            <a:extLst>
              <a:ext uri="{FF2B5EF4-FFF2-40B4-BE49-F238E27FC236}">
                <a16:creationId xmlns:a16="http://schemas.microsoft.com/office/drawing/2014/main" id="{5914958F-3008-471F-A929-DC36B45E0CE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960171" y="2558933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83" name="Szöveg helye 5">
            <a:extLst>
              <a:ext uri="{FF2B5EF4-FFF2-40B4-BE49-F238E27FC236}">
                <a16:creationId xmlns:a16="http://schemas.microsoft.com/office/drawing/2014/main" id="{18C4E654-4C7E-4E1E-8C31-95ABE39CD80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201657" y="2565496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</p:txBody>
      </p:sp>
      <p:cxnSp>
        <p:nvCxnSpPr>
          <p:cNvPr id="86" name="Egyenes összekötő 85">
            <a:extLst>
              <a:ext uri="{FF2B5EF4-FFF2-40B4-BE49-F238E27FC236}">
                <a16:creationId xmlns:a16="http://schemas.microsoft.com/office/drawing/2014/main" id="{8FA87A9D-E595-4BC0-88B1-690727FACBDD}"/>
              </a:ext>
            </a:extLst>
          </p:cNvPr>
          <p:cNvCxnSpPr/>
          <p:nvPr userDrawn="1"/>
        </p:nvCxnSpPr>
        <p:spPr>
          <a:xfrm>
            <a:off x="5261764" y="2404760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Egyenes összekötő 44">
            <a:extLst>
              <a:ext uri="{FF2B5EF4-FFF2-40B4-BE49-F238E27FC236}">
                <a16:creationId xmlns:a16="http://schemas.microsoft.com/office/drawing/2014/main" id="{B3FDC04E-6833-4D0D-A3EE-95E3596E65BC}"/>
              </a:ext>
            </a:extLst>
          </p:cNvPr>
          <p:cNvCxnSpPr>
            <a:cxnSpLocks/>
          </p:cNvCxnSpPr>
          <p:nvPr userDrawn="1"/>
        </p:nvCxnSpPr>
        <p:spPr>
          <a:xfrm>
            <a:off x="919316" y="2751789"/>
            <a:ext cx="0" cy="198873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Egyenes összekötő 135">
            <a:extLst>
              <a:ext uri="{FF2B5EF4-FFF2-40B4-BE49-F238E27FC236}">
                <a16:creationId xmlns:a16="http://schemas.microsoft.com/office/drawing/2014/main" id="{91B07D81-CF5B-41FD-8315-ED27F10A291F}"/>
              </a:ext>
            </a:extLst>
          </p:cNvPr>
          <p:cNvCxnSpPr>
            <a:cxnSpLocks/>
          </p:cNvCxnSpPr>
          <p:nvPr userDrawn="1"/>
        </p:nvCxnSpPr>
        <p:spPr>
          <a:xfrm flipH="1">
            <a:off x="2158549" y="2751789"/>
            <a:ext cx="4548" cy="193397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Egyenes összekötő 137">
            <a:extLst>
              <a:ext uri="{FF2B5EF4-FFF2-40B4-BE49-F238E27FC236}">
                <a16:creationId xmlns:a16="http://schemas.microsoft.com/office/drawing/2014/main" id="{59AAA213-9687-48BC-A50F-8867649FBFD0}"/>
              </a:ext>
            </a:extLst>
          </p:cNvPr>
          <p:cNvCxnSpPr>
            <a:cxnSpLocks/>
          </p:cNvCxnSpPr>
          <p:nvPr userDrawn="1"/>
        </p:nvCxnSpPr>
        <p:spPr>
          <a:xfrm>
            <a:off x="3399775" y="2751789"/>
            <a:ext cx="0" cy="194918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Egyenes összekötő 140">
            <a:extLst>
              <a:ext uri="{FF2B5EF4-FFF2-40B4-BE49-F238E27FC236}">
                <a16:creationId xmlns:a16="http://schemas.microsoft.com/office/drawing/2014/main" id="{514BAB75-F578-473C-AED1-F3674022ADFD}"/>
              </a:ext>
            </a:extLst>
          </p:cNvPr>
          <p:cNvCxnSpPr>
            <a:cxnSpLocks/>
          </p:cNvCxnSpPr>
          <p:nvPr userDrawn="1"/>
        </p:nvCxnSpPr>
        <p:spPr>
          <a:xfrm flipH="1">
            <a:off x="4639972" y="2742902"/>
            <a:ext cx="6237" cy="199761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Egyenes összekötő 141">
            <a:extLst>
              <a:ext uri="{FF2B5EF4-FFF2-40B4-BE49-F238E27FC236}">
                <a16:creationId xmlns:a16="http://schemas.microsoft.com/office/drawing/2014/main" id="{1981F3BA-4A25-4E7E-A73A-40F69C6FDDF5}"/>
              </a:ext>
            </a:extLst>
          </p:cNvPr>
          <p:cNvCxnSpPr>
            <a:cxnSpLocks/>
          </p:cNvCxnSpPr>
          <p:nvPr userDrawn="1"/>
        </p:nvCxnSpPr>
        <p:spPr>
          <a:xfrm>
            <a:off x="5893029" y="2745592"/>
            <a:ext cx="0" cy="19401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Egyenes összekötő 142">
            <a:extLst>
              <a:ext uri="{FF2B5EF4-FFF2-40B4-BE49-F238E27FC236}">
                <a16:creationId xmlns:a16="http://schemas.microsoft.com/office/drawing/2014/main" id="{1BFC9635-4529-41D8-9779-B1E7D519F4E6}"/>
              </a:ext>
            </a:extLst>
          </p:cNvPr>
          <p:cNvCxnSpPr>
            <a:cxnSpLocks/>
          </p:cNvCxnSpPr>
          <p:nvPr userDrawn="1"/>
        </p:nvCxnSpPr>
        <p:spPr>
          <a:xfrm>
            <a:off x="7141610" y="2742902"/>
            <a:ext cx="0" cy="19744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232428AB-ACA7-4DCE-BE4F-7455ACBCA358}"/>
              </a:ext>
            </a:extLst>
          </p:cNvPr>
          <p:cNvCxnSpPr>
            <a:cxnSpLocks/>
          </p:cNvCxnSpPr>
          <p:nvPr userDrawn="1"/>
        </p:nvCxnSpPr>
        <p:spPr>
          <a:xfrm flipH="1">
            <a:off x="914016" y="2745552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Egyenes összekötő 59">
            <a:extLst>
              <a:ext uri="{FF2B5EF4-FFF2-40B4-BE49-F238E27FC236}">
                <a16:creationId xmlns:a16="http://schemas.microsoft.com/office/drawing/2014/main" id="{E81C2BB5-3912-486B-89CB-2B1F87AEC8DE}"/>
              </a:ext>
            </a:extLst>
          </p:cNvPr>
          <p:cNvCxnSpPr>
            <a:stCxn id="91" idx="1"/>
          </p:cNvCxnSpPr>
          <p:nvPr userDrawn="1"/>
        </p:nvCxnSpPr>
        <p:spPr>
          <a:xfrm flipH="1">
            <a:off x="919316" y="3231858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Egyenes összekötő 70">
            <a:extLst>
              <a:ext uri="{FF2B5EF4-FFF2-40B4-BE49-F238E27FC236}">
                <a16:creationId xmlns:a16="http://schemas.microsoft.com/office/drawing/2014/main" id="{B8438681-44E5-442A-86AB-9340920D3D0D}"/>
              </a:ext>
            </a:extLst>
          </p:cNvPr>
          <p:cNvCxnSpPr>
            <a:cxnSpLocks/>
            <a:stCxn id="104" idx="1"/>
          </p:cNvCxnSpPr>
          <p:nvPr userDrawn="1"/>
        </p:nvCxnSpPr>
        <p:spPr>
          <a:xfrm flipH="1">
            <a:off x="911763" y="3718555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Egyenes összekötő 143">
            <a:extLst>
              <a:ext uri="{FF2B5EF4-FFF2-40B4-BE49-F238E27FC236}">
                <a16:creationId xmlns:a16="http://schemas.microsoft.com/office/drawing/2014/main" id="{27DC6EB6-913E-4EEB-8437-AC35683EFA0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1763" y="42258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Egyenes összekötő 144">
            <a:extLst>
              <a:ext uri="{FF2B5EF4-FFF2-40B4-BE49-F238E27FC236}">
                <a16:creationId xmlns:a16="http://schemas.microsoft.com/office/drawing/2014/main" id="{B19C9888-65DB-49A1-A8ED-F029369D937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1763" y="474052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Egyenes összekötő 145">
            <a:extLst>
              <a:ext uri="{FF2B5EF4-FFF2-40B4-BE49-F238E27FC236}">
                <a16:creationId xmlns:a16="http://schemas.microsoft.com/office/drawing/2014/main" id="{06E89C37-80F7-40AC-81B8-4FC5DA5DD1B8}"/>
              </a:ext>
            </a:extLst>
          </p:cNvPr>
          <p:cNvCxnSpPr>
            <a:cxnSpLocks/>
          </p:cNvCxnSpPr>
          <p:nvPr userDrawn="1"/>
        </p:nvCxnSpPr>
        <p:spPr>
          <a:xfrm flipH="1">
            <a:off x="2163097" y="325820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Egyenes összekötő 146">
            <a:extLst>
              <a:ext uri="{FF2B5EF4-FFF2-40B4-BE49-F238E27FC236}">
                <a16:creationId xmlns:a16="http://schemas.microsoft.com/office/drawing/2014/main" id="{CF80155F-E706-43DF-9AC7-D48E6D242053}"/>
              </a:ext>
            </a:extLst>
          </p:cNvPr>
          <p:cNvCxnSpPr>
            <a:cxnSpLocks/>
          </p:cNvCxnSpPr>
          <p:nvPr userDrawn="1"/>
        </p:nvCxnSpPr>
        <p:spPr>
          <a:xfrm flipH="1">
            <a:off x="2153249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Egyenes összekötő 147">
            <a:extLst>
              <a:ext uri="{FF2B5EF4-FFF2-40B4-BE49-F238E27FC236}">
                <a16:creationId xmlns:a16="http://schemas.microsoft.com/office/drawing/2014/main" id="{C74D0AE4-A642-47C7-A74B-E772F00D8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2163097" y="42258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Egyenes összekötő 148">
            <a:extLst>
              <a:ext uri="{FF2B5EF4-FFF2-40B4-BE49-F238E27FC236}">
                <a16:creationId xmlns:a16="http://schemas.microsoft.com/office/drawing/2014/main" id="{3D04D45A-C8DF-48CC-96BB-A6953378B47F}"/>
              </a:ext>
            </a:extLst>
          </p:cNvPr>
          <p:cNvCxnSpPr>
            <a:cxnSpLocks/>
          </p:cNvCxnSpPr>
          <p:nvPr userDrawn="1"/>
        </p:nvCxnSpPr>
        <p:spPr>
          <a:xfrm flipH="1">
            <a:off x="2163097" y="468576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Egyenes összekötő 149">
            <a:extLst>
              <a:ext uri="{FF2B5EF4-FFF2-40B4-BE49-F238E27FC236}">
                <a16:creationId xmlns:a16="http://schemas.microsoft.com/office/drawing/2014/main" id="{0475DF98-3057-4CDB-87F4-4AEEBB0749C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14432" y="3760109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Egyenes összekötő 150">
            <a:extLst>
              <a:ext uri="{FF2B5EF4-FFF2-40B4-BE49-F238E27FC236}">
                <a16:creationId xmlns:a16="http://schemas.microsoft.com/office/drawing/2014/main" id="{3B0B02E7-B18D-4D83-9F61-A14240EA115A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325872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Egyenes összekötő 151">
            <a:extLst>
              <a:ext uri="{FF2B5EF4-FFF2-40B4-BE49-F238E27FC236}">
                <a16:creationId xmlns:a16="http://schemas.microsoft.com/office/drawing/2014/main" id="{8C520A2E-6BF5-49BE-B486-D7D77E0B21AB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42258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Egyenes összekötő 152">
            <a:extLst>
              <a:ext uri="{FF2B5EF4-FFF2-40B4-BE49-F238E27FC236}">
                <a16:creationId xmlns:a16="http://schemas.microsoft.com/office/drawing/2014/main" id="{E69267CE-C258-4596-8801-9A683F49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470097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Egyenes összekötő 153">
            <a:extLst>
              <a:ext uri="{FF2B5EF4-FFF2-40B4-BE49-F238E27FC236}">
                <a16:creationId xmlns:a16="http://schemas.microsoft.com/office/drawing/2014/main" id="{56FD985F-7703-4090-B050-15CFE1B40647}"/>
              </a:ext>
            </a:extLst>
          </p:cNvPr>
          <p:cNvCxnSpPr>
            <a:cxnSpLocks/>
          </p:cNvCxnSpPr>
          <p:nvPr userDrawn="1"/>
        </p:nvCxnSpPr>
        <p:spPr>
          <a:xfrm flipH="1">
            <a:off x="4646301" y="3262983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Egyenes összekötő 154">
            <a:extLst>
              <a:ext uri="{FF2B5EF4-FFF2-40B4-BE49-F238E27FC236}">
                <a16:creationId xmlns:a16="http://schemas.microsoft.com/office/drawing/2014/main" id="{1206D2B7-212E-4FD5-9C49-3A810AB8AB43}"/>
              </a:ext>
            </a:extLst>
          </p:cNvPr>
          <p:cNvCxnSpPr>
            <a:cxnSpLocks/>
          </p:cNvCxnSpPr>
          <p:nvPr userDrawn="1"/>
        </p:nvCxnSpPr>
        <p:spPr>
          <a:xfrm flipH="1">
            <a:off x="4646209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Egyenes összekötő 155">
            <a:extLst>
              <a:ext uri="{FF2B5EF4-FFF2-40B4-BE49-F238E27FC236}">
                <a16:creationId xmlns:a16="http://schemas.microsoft.com/office/drawing/2014/main" id="{2BA6A8BA-55A5-49EF-BFD2-93FDF37866E9}"/>
              </a:ext>
            </a:extLst>
          </p:cNvPr>
          <p:cNvCxnSpPr>
            <a:cxnSpLocks/>
          </p:cNvCxnSpPr>
          <p:nvPr userDrawn="1"/>
        </p:nvCxnSpPr>
        <p:spPr>
          <a:xfrm flipH="1">
            <a:off x="4658908" y="424103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Egyenes összekötő 156">
            <a:extLst>
              <a:ext uri="{FF2B5EF4-FFF2-40B4-BE49-F238E27FC236}">
                <a16:creationId xmlns:a16="http://schemas.microsoft.com/office/drawing/2014/main" id="{EFCD5429-FB7B-40BA-975D-B78E12956419}"/>
              </a:ext>
            </a:extLst>
          </p:cNvPr>
          <p:cNvCxnSpPr>
            <a:cxnSpLocks/>
          </p:cNvCxnSpPr>
          <p:nvPr userDrawn="1"/>
        </p:nvCxnSpPr>
        <p:spPr>
          <a:xfrm flipH="1">
            <a:off x="4646209" y="474052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Egyenes összekötő 157">
            <a:extLst>
              <a:ext uri="{FF2B5EF4-FFF2-40B4-BE49-F238E27FC236}">
                <a16:creationId xmlns:a16="http://schemas.microsoft.com/office/drawing/2014/main" id="{277621DF-65DE-4B13-9CE8-5EC1AC809424}"/>
              </a:ext>
            </a:extLst>
          </p:cNvPr>
          <p:cNvCxnSpPr>
            <a:cxnSpLocks/>
          </p:cNvCxnSpPr>
          <p:nvPr userDrawn="1"/>
        </p:nvCxnSpPr>
        <p:spPr>
          <a:xfrm flipH="1">
            <a:off x="5886000" y="3271112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Egyenes összekötő 158">
            <a:extLst>
              <a:ext uri="{FF2B5EF4-FFF2-40B4-BE49-F238E27FC236}">
                <a16:creationId xmlns:a16="http://schemas.microsoft.com/office/drawing/2014/main" id="{FA28771D-AA4C-443C-8E63-34F2AD3B56BB}"/>
              </a:ext>
            </a:extLst>
          </p:cNvPr>
          <p:cNvCxnSpPr>
            <a:cxnSpLocks/>
          </p:cNvCxnSpPr>
          <p:nvPr userDrawn="1"/>
        </p:nvCxnSpPr>
        <p:spPr>
          <a:xfrm flipH="1">
            <a:off x="5892827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Egyenes összekötő 159">
            <a:extLst>
              <a:ext uri="{FF2B5EF4-FFF2-40B4-BE49-F238E27FC236}">
                <a16:creationId xmlns:a16="http://schemas.microsoft.com/office/drawing/2014/main" id="{1DDC74C9-AE27-4A83-AABB-3DDB837D509C}"/>
              </a:ext>
            </a:extLst>
          </p:cNvPr>
          <p:cNvCxnSpPr>
            <a:cxnSpLocks/>
          </p:cNvCxnSpPr>
          <p:nvPr userDrawn="1"/>
        </p:nvCxnSpPr>
        <p:spPr>
          <a:xfrm flipH="1">
            <a:off x="5893029" y="422886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Egyenes összekötő 160">
            <a:extLst>
              <a:ext uri="{FF2B5EF4-FFF2-40B4-BE49-F238E27FC236}">
                <a16:creationId xmlns:a16="http://schemas.microsoft.com/office/drawing/2014/main" id="{FB789C3C-EBD5-44B4-8D1C-814DAFF49CA1}"/>
              </a:ext>
            </a:extLst>
          </p:cNvPr>
          <p:cNvCxnSpPr>
            <a:cxnSpLocks/>
          </p:cNvCxnSpPr>
          <p:nvPr userDrawn="1"/>
        </p:nvCxnSpPr>
        <p:spPr>
          <a:xfrm flipH="1">
            <a:off x="5892827" y="468576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Egyenes összekötő 161">
            <a:extLst>
              <a:ext uri="{FF2B5EF4-FFF2-40B4-BE49-F238E27FC236}">
                <a16:creationId xmlns:a16="http://schemas.microsoft.com/office/drawing/2014/main" id="{FB2C4F55-7E8C-4548-9A48-25A7FE610A8E}"/>
              </a:ext>
            </a:extLst>
          </p:cNvPr>
          <p:cNvCxnSpPr>
            <a:cxnSpLocks/>
          </p:cNvCxnSpPr>
          <p:nvPr userDrawn="1"/>
        </p:nvCxnSpPr>
        <p:spPr>
          <a:xfrm flipH="1">
            <a:off x="7141610" y="3271112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Egyenes összekötő 162">
            <a:extLst>
              <a:ext uri="{FF2B5EF4-FFF2-40B4-BE49-F238E27FC236}">
                <a16:creationId xmlns:a16="http://schemas.microsoft.com/office/drawing/2014/main" id="{1CF77D93-3F02-46F1-B47C-91442932693D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375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Egyenes összekötő 163">
            <a:extLst>
              <a:ext uri="{FF2B5EF4-FFF2-40B4-BE49-F238E27FC236}">
                <a16:creationId xmlns:a16="http://schemas.microsoft.com/office/drawing/2014/main" id="{D1634D8D-BEEA-47CD-B293-B2C72E4A9D6D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375" y="424103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Egyenes összekötő 164">
            <a:extLst>
              <a:ext uri="{FF2B5EF4-FFF2-40B4-BE49-F238E27FC236}">
                <a16:creationId xmlns:a16="http://schemas.microsoft.com/office/drawing/2014/main" id="{61C7001A-6E3B-4491-8B80-E42B0BA013EA}"/>
              </a:ext>
            </a:extLst>
          </p:cNvPr>
          <p:cNvCxnSpPr>
            <a:cxnSpLocks/>
          </p:cNvCxnSpPr>
          <p:nvPr userDrawn="1"/>
        </p:nvCxnSpPr>
        <p:spPr>
          <a:xfrm flipH="1">
            <a:off x="7141610" y="4717399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Egyenes összekötő 165">
            <a:extLst>
              <a:ext uri="{FF2B5EF4-FFF2-40B4-BE49-F238E27FC236}">
                <a16:creationId xmlns:a16="http://schemas.microsoft.com/office/drawing/2014/main" id="{B58A7CCF-34C1-481A-B4A3-B055D1F25BFF}"/>
              </a:ext>
            </a:extLst>
          </p:cNvPr>
          <p:cNvCxnSpPr>
            <a:cxnSpLocks/>
          </p:cNvCxnSpPr>
          <p:nvPr userDrawn="1"/>
        </p:nvCxnSpPr>
        <p:spPr>
          <a:xfrm flipH="1">
            <a:off x="2158549" y="2755508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Egyenes összekötő 166">
            <a:extLst>
              <a:ext uri="{FF2B5EF4-FFF2-40B4-BE49-F238E27FC236}">
                <a16:creationId xmlns:a16="http://schemas.microsoft.com/office/drawing/2014/main" id="{AB00E522-F35F-4101-B534-A4D1259D5C82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2753121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Egyenes összekötő 167">
            <a:extLst>
              <a:ext uri="{FF2B5EF4-FFF2-40B4-BE49-F238E27FC236}">
                <a16:creationId xmlns:a16="http://schemas.microsoft.com/office/drawing/2014/main" id="{5C87315E-E560-4256-AFE0-D54CE149B16B}"/>
              </a:ext>
            </a:extLst>
          </p:cNvPr>
          <p:cNvCxnSpPr>
            <a:cxnSpLocks/>
          </p:cNvCxnSpPr>
          <p:nvPr userDrawn="1"/>
        </p:nvCxnSpPr>
        <p:spPr>
          <a:xfrm flipH="1">
            <a:off x="4639972" y="2742902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Egyenes összekötő 168">
            <a:extLst>
              <a:ext uri="{FF2B5EF4-FFF2-40B4-BE49-F238E27FC236}">
                <a16:creationId xmlns:a16="http://schemas.microsoft.com/office/drawing/2014/main" id="{081474A9-A18C-451B-8D4D-E16B954DDB50}"/>
              </a:ext>
            </a:extLst>
          </p:cNvPr>
          <p:cNvCxnSpPr>
            <a:cxnSpLocks/>
          </p:cNvCxnSpPr>
          <p:nvPr userDrawn="1"/>
        </p:nvCxnSpPr>
        <p:spPr>
          <a:xfrm flipH="1">
            <a:off x="5889672" y="2750595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Egyenes összekötő 169">
            <a:extLst>
              <a:ext uri="{FF2B5EF4-FFF2-40B4-BE49-F238E27FC236}">
                <a16:creationId xmlns:a16="http://schemas.microsoft.com/office/drawing/2014/main" id="{4258ADDD-0F9D-4F19-9AEF-D835BEEED548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375" y="2740533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Szöveg helye 3">
            <a:extLst>
              <a:ext uri="{FF2B5EF4-FFF2-40B4-BE49-F238E27FC236}">
                <a16:creationId xmlns:a16="http://schemas.microsoft.com/office/drawing/2014/main" id="{9DBEC486-CD67-423E-AAF4-47AB8A0CDA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125513" y="3024190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4" name="Szöveg helye 3">
            <a:extLst>
              <a:ext uri="{FF2B5EF4-FFF2-40B4-BE49-F238E27FC236}">
                <a16:creationId xmlns:a16="http://schemas.microsoft.com/office/drawing/2014/main" id="{F34CF00C-C334-44AD-86F3-952BB8C69D8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125513" y="351088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7" name="Szöveg helye 3">
            <a:extLst>
              <a:ext uri="{FF2B5EF4-FFF2-40B4-BE49-F238E27FC236}">
                <a16:creationId xmlns:a16="http://schemas.microsoft.com/office/drawing/2014/main" id="{C33F74EA-40A4-4F78-8981-E70E5B1E6FD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125513" y="399271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8" name="Szöveg helye 3">
            <a:extLst>
              <a:ext uri="{FF2B5EF4-FFF2-40B4-BE49-F238E27FC236}">
                <a16:creationId xmlns:a16="http://schemas.microsoft.com/office/drawing/2014/main" id="{3B4DE2AF-63AC-4678-9275-77996286FF6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125513" y="44744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2" name="Szöveg helye 3">
            <a:extLst>
              <a:ext uri="{FF2B5EF4-FFF2-40B4-BE49-F238E27FC236}">
                <a16:creationId xmlns:a16="http://schemas.microsoft.com/office/drawing/2014/main" id="{93377162-4EFC-4F33-839E-5C51491048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366999" y="3024190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3" name="Szöveg helye 3">
            <a:extLst>
              <a:ext uri="{FF2B5EF4-FFF2-40B4-BE49-F238E27FC236}">
                <a16:creationId xmlns:a16="http://schemas.microsoft.com/office/drawing/2014/main" id="{336F4932-271C-473F-B23A-35959DCE5CD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366999" y="351088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7" name="Szöveg helye 3">
            <a:extLst>
              <a:ext uri="{FF2B5EF4-FFF2-40B4-BE49-F238E27FC236}">
                <a16:creationId xmlns:a16="http://schemas.microsoft.com/office/drawing/2014/main" id="{548EB7A9-603D-4B0C-A2F8-ED078360A62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366999" y="399271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8" name="Szöveg helye 3">
            <a:extLst>
              <a:ext uri="{FF2B5EF4-FFF2-40B4-BE49-F238E27FC236}">
                <a16:creationId xmlns:a16="http://schemas.microsoft.com/office/drawing/2014/main" id="{095780B1-2800-43F5-9871-E2B8E840023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366999" y="44744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0" name="Szöveg helye 3">
            <a:extLst>
              <a:ext uri="{FF2B5EF4-FFF2-40B4-BE49-F238E27FC236}">
                <a16:creationId xmlns:a16="http://schemas.microsoft.com/office/drawing/2014/main" id="{28321B1D-35C2-4ECE-A4EB-62110862B3E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613525" y="3024190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1" name="Szöveg helye 3">
            <a:extLst>
              <a:ext uri="{FF2B5EF4-FFF2-40B4-BE49-F238E27FC236}">
                <a16:creationId xmlns:a16="http://schemas.microsoft.com/office/drawing/2014/main" id="{807671B5-E90F-4FD7-AE7F-FFDD4E946C4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613525" y="351088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2" name="Szöveg helye 3">
            <a:extLst>
              <a:ext uri="{FF2B5EF4-FFF2-40B4-BE49-F238E27FC236}">
                <a16:creationId xmlns:a16="http://schemas.microsoft.com/office/drawing/2014/main" id="{91A831FE-0B1C-423D-A0BC-1DFFEEC32DD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613525" y="399271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3" name="Szöveg helye 3">
            <a:extLst>
              <a:ext uri="{FF2B5EF4-FFF2-40B4-BE49-F238E27FC236}">
                <a16:creationId xmlns:a16="http://schemas.microsoft.com/office/drawing/2014/main" id="{F2D8D697-9633-4BE1-8DB5-6930E4A31F2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3613525" y="44744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4" name="Szöveg helye 3">
            <a:extLst>
              <a:ext uri="{FF2B5EF4-FFF2-40B4-BE49-F238E27FC236}">
                <a16:creationId xmlns:a16="http://schemas.microsoft.com/office/drawing/2014/main" id="{4F01D6D9-9716-46FE-A3D2-6D8B6D8FABD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860051" y="3024190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5" name="Szöveg helye 3">
            <a:extLst>
              <a:ext uri="{FF2B5EF4-FFF2-40B4-BE49-F238E27FC236}">
                <a16:creationId xmlns:a16="http://schemas.microsoft.com/office/drawing/2014/main" id="{05E8A4F4-AE86-4A39-A250-3AC073B5BB5C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860051" y="351088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6" name="Szöveg helye 3">
            <a:extLst>
              <a:ext uri="{FF2B5EF4-FFF2-40B4-BE49-F238E27FC236}">
                <a16:creationId xmlns:a16="http://schemas.microsoft.com/office/drawing/2014/main" id="{4D0A95B5-39BB-4087-8088-928A839982C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860051" y="399271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7" name="Szöveg helye 3">
            <a:extLst>
              <a:ext uri="{FF2B5EF4-FFF2-40B4-BE49-F238E27FC236}">
                <a16:creationId xmlns:a16="http://schemas.microsoft.com/office/drawing/2014/main" id="{69D857C3-F106-4E84-95BE-519F32FF3C3C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860051" y="44744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8" name="Szöveg helye 3">
            <a:extLst>
              <a:ext uri="{FF2B5EF4-FFF2-40B4-BE49-F238E27FC236}">
                <a16:creationId xmlns:a16="http://schemas.microsoft.com/office/drawing/2014/main" id="{21C49626-E064-436B-9FF5-E47F118332E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106577" y="3024190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9" name="Szöveg helye 3">
            <a:extLst>
              <a:ext uri="{FF2B5EF4-FFF2-40B4-BE49-F238E27FC236}">
                <a16:creationId xmlns:a16="http://schemas.microsoft.com/office/drawing/2014/main" id="{2C8E3CDE-431C-41CE-AB7E-6DDB5AACC9A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06577" y="351088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0" name="Szöveg helye 3">
            <a:extLst>
              <a:ext uri="{FF2B5EF4-FFF2-40B4-BE49-F238E27FC236}">
                <a16:creationId xmlns:a16="http://schemas.microsoft.com/office/drawing/2014/main" id="{1B111A33-E1BF-4FBB-9648-70918B3FD20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106577" y="399271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1" name="Szöveg helye 3">
            <a:extLst>
              <a:ext uri="{FF2B5EF4-FFF2-40B4-BE49-F238E27FC236}">
                <a16:creationId xmlns:a16="http://schemas.microsoft.com/office/drawing/2014/main" id="{858F8DC0-C716-4FAA-A6F5-2F1601CA989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06577" y="44744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2" name="Szöveg helye 3">
            <a:extLst>
              <a:ext uri="{FF2B5EF4-FFF2-40B4-BE49-F238E27FC236}">
                <a16:creationId xmlns:a16="http://schemas.microsoft.com/office/drawing/2014/main" id="{1618596E-8286-4D9A-8517-5D9C033311B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355360" y="3024712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3" name="Szöveg helye 3">
            <a:extLst>
              <a:ext uri="{FF2B5EF4-FFF2-40B4-BE49-F238E27FC236}">
                <a16:creationId xmlns:a16="http://schemas.microsoft.com/office/drawing/2014/main" id="{6ADA2306-D113-4EAD-978F-13892D1C23C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355360" y="3498236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4" name="Szöveg helye 3">
            <a:extLst>
              <a:ext uri="{FF2B5EF4-FFF2-40B4-BE49-F238E27FC236}">
                <a16:creationId xmlns:a16="http://schemas.microsoft.com/office/drawing/2014/main" id="{D0015552-CF78-4B16-8E12-5F38328F76A3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7355360" y="3980060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5" name="Szöveg helye 3">
            <a:extLst>
              <a:ext uri="{FF2B5EF4-FFF2-40B4-BE49-F238E27FC236}">
                <a16:creationId xmlns:a16="http://schemas.microsoft.com/office/drawing/2014/main" id="{D91B9127-1577-4283-B01D-47A68289A8B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355360" y="446179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87" name="Titel 1">
            <a:extLst>
              <a:ext uri="{FF2B5EF4-FFF2-40B4-BE49-F238E27FC236}">
                <a16:creationId xmlns:a16="http://schemas.microsoft.com/office/drawing/2014/main" id="{1039E671-43ED-4031-A3D9-900D57CB926B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789902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Organigram</a:t>
            </a:r>
            <a:endParaRPr lang="en-GB" dirty="0"/>
          </a:p>
        </p:txBody>
      </p:sp>
      <p:sp>
        <p:nvSpPr>
          <p:cNvPr id="94" name="Fußzeilenplatzhalter 6">
            <a:extLst>
              <a:ext uri="{FF2B5EF4-FFF2-40B4-BE49-F238E27FC236}">
                <a16:creationId xmlns:a16="http://schemas.microsoft.com/office/drawing/2014/main" id="{D153414A-0E19-4D2C-AA71-13A6DD234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5696666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 (inc. F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Egyenes összekötő 66">
            <a:extLst>
              <a:ext uri="{FF2B5EF4-FFF2-40B4-BE49-F238E27FC236}">
                <a16:creationId xmlns:a16="http://schemas.microsoft.com/office/drawing/2014/main" id="{0B0F9DCF-A180-4AF6-9F85-1E8916D0C174}"/>
              </a:ext>
            </a:extLst>
          </p:cNvPr>
          <p:cNvCxnSpPr/>
          <p:nvPr userDrawn="1"/>
        </p:nvCxnSpPr>
        <p:spPr>
          <a:xfrm>
            <a:off x="1388782" y="2157939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40901750-A986-494F-95DC-7ACFC0ADC15D}"/>
              </a:ext>
            </a:extLst>
          </p:cNvPr>
          <p:cNvCxnSpPr>
            <a:cxnSpLocks/>
          </p:cNvCxnSpPr>
          <p:nvPr userDrawn="1"/>
        </p:nvCxnSpPr>
        <p:spPr>
          <a:xfrm>
            <a:off x="4436999" y="985434"/>
            <a:ext cx="0" cy="115911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F8B002F5-CEA8-4CC2-96BF-ADDE39F2434F}"/>
              </a:ext>
            </a:extLst>
          </p:cNvPr>
          <p:cNvCxnSpPr>
            <a:cxnSpLocks/>
          </p:cNvCxnSpPr>
          <p:nvPr userDrawn="1"/>
        </p:nvCxnSpPr>
        <p:spPr>
          <a:xfrm>
            <a:off x="1388782" y="2161163"/>
            <a:ext cx="619878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FC948CF7-FF33-4660-8430-2F8D8894333F}"/>
              </a:ext>
            </a:extLst>
          </p:cNvPr>
          <p:cNvCxnSpPr/>
          <p:nvPr userDrawn="1"/>
        </p:nvCxnSpPr>
        <p:spPr>
          <a:xfrm>
            <a:off x="6327153" y="2157938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5">
            <a:extLst>
              <a:ext uri="{FF2B5EF4-FFF2-40B4-BE49-F238E27FC236}">
                <a16:creationId xmlns:a16="http://schemas.microsoft.com/office/drawing/2014/main" id="{44F283D8-2CB4-415D-8510-5B76A78DC1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8975" y="2292259"/>
            <a:ext cx="1098300" cy="363200"/>
          </a:xfrm>
          <a:solidFill>
            <a:srgbClr val="5CC1CB"/>
          </a:solidFill>
        </p:spPr>
        <p:txBody>
          <a:bodyPr lIns="72000" tIns="0" bIns="0" anchor="t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1</a:t>
            </a:r>
          </a:p>
        </p:txBody>
      </p:sp>
      <p:cxnSp>
        <p:nvCxnSpPr>
          <p:cNvPr id="63" name="Egyenes összekötő 62">
            <a:extLst>
              <a:ext uri="{FF2B5EF4-FFF2-40B4-BE49-F238E27FC236}">
                <a16:creationId xmlns:a16="http://schemas.microsoft.com/office/drawing/2014/main" id="{883D18FC-A4C9-4CAC-A2F7-02E27A7D576F}"/>
              </a:ext>
            </a:extLst>
          </p:cNvPr>
          <p:cNvCxnSpPr/>
          <p:nvPr userDrawn="1"/>
        </p:nvCxnSpPr>
        <p:spPr>
          <a:xfrm>
            <a:off x="3901853" y="2169948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Egyenes összekötő 63">
            <a:extLst>
              <a:ext uri="{FF2B5EF4-FFF2-40B4-BE49-F238E27FC236}">
                <a16:creationId xmlns:a16="http://schemas.microsoft.com/office/drawing/2014/main" id="{13DDE47B-E6BE-4326-A542-AB42B7F5B293}"/>
              </a:ext>
            </a:extLst>
          </p:cNvPr>
          <p:cNvCxnSpPr/>
          <p:nvPr userDrawn="1"/>
        </p:nvCxnSpPr>
        <p:spPr>
          <a:xfrm>
            <a:off x="2687592" y="216111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Egyenes összekötő 4">
            <a:extLst>
              <a:ext uri="{FF2B5EF4-FFF2-40B4-BE49-F238E27FC236}">
                <a16:creationId xmlns:a16="http://schemas.microsoft.com/office/drawing/2014/main" id="{38981B53-CD8F-4D59-A056-3BC226C150C4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868975" y="247385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>
            <a:extLst>
              <a:ext uri="{FF2B5EF4-FFF2-40B4-BE49-F238E27FC236}">
                <a16:creationId xmlns:a16="http://schemas.microsoft.com/office/drawing/2014/main" id="{2A43DF40-2125-4590-A6BE-2AABBDCC18BB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868975" y="247385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8C4FB2F7-0D88-4A7D-9989-662C07DDD3B8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868975" y="2473859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zöveg helye 5">
            <a:extLst>
              <a:ext uri="{FF2B5EF4-FFF2-40B4-BE49-F238E27FC236}">
                <a16:creationId xmlns:a16="http://schemas.microsoft.com/office/drawing/2014/main" id="{51ACF69A-F088-41DC-A429-691A6BA4B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5221" y="974216"/>
            <a:ext cx="2742176" cy="446986"/>
          </a:xfrm>
          <a:solidFill>
            <a:srgbClr val="EA1C0A"/>
          </a:solidFill>
        </p:spPr>
        <p:txBody>
          <a:bodyPr lIns="0" tIns="0" bIns="0" anchor="t"/>
          <a:lstStyle>
            <a:lvl1pPr algn="ctr"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Steering</a:t>
            </a:r>
            <a:r>
              <a:rPr lang="hu-HU" dirty="0"/>
              <a:t> </a:t>
            </a:r>
            <a:r>
              <a:rPr lang="hu-HU" dirty="0" err="1"/>
              <a:t>Commitee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54" name="Szöveg helye 5">
            <a:extLst>
              <a:ext uri="{FF2B5EF4-FFF2-40B4-BE49-F238E27FC236}">
                <a16:creationId xmlns:a16="http://schemas.microsoft.com/office/drawing/2014/main" id="{0D5D9F03-9F3B-4CED-8298-B0BF62BC04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670283" y="1524121"/>
            <a:ext cx="1177114" cy="446400"/>
          </a:xfrm>
          <a:solidFill>
            <a:srgbClr val="B00402"/>
          </a:solidFill>
        </p:spPr>
        <p:txBody>
          <a:bodyPr lIns="72000" tIns="0" bIns="0" anchor="t"/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Project lead</a:t>
            </a:r>
          </a:p>
        </p:txBody>
      </p:sp>
      <p:cxnSp>
        <p:nvCxnSpPr>
          <p:cNvPr id="9" name="Egyenes összekötő 8">
            <a:extLst>
              <a:ext uri="{FF2B5EF4-FFF2-40B4-BE49-F238E27FC236}">
                <a16:creationId xmlns:a16="http://schemas.microsoft.com/office/drawing/2014/main" id="{F23DAA20-057C-4D53-A520-C8F1A5BC50F2}"/>
              </a:ext>
            </a:extLst>
          </p:cNvPr>
          <p:cNvCxnSpPr>
            <a:cxnSpLocks/>
            <a:endCxn id="54" idx="1"/>
          </p:cNvCxnSpPr>
          <p:nvPr userDrawn="1"/>
        </p:nvCxnSpPr>
        <p:spPr>
          <a:xfrm>
            <a:off x="4436999" y="1747321"/>
            <a:ext cx="23328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Egyenes összekötő 64">
            <a:extLst>
              <a:ext uri="{FF2B5EF4-FFF2-40B4-BE49-F238E27FC236}">
                <a16:creationId xmlns:a16="http://schemas.microsoft.com/office/drawing/2014/main" id="{141E3501-1D6A-47BA-857D-E2BB37A7E832}"/>
              </a:ext>
            </a:extLst>
          </p:cNvPr>
          <p:cNvCxnSpPr/>
          <p:nvPr userDrawn="1"/>
        </p:nvCxnSpPr>
        <p:spPr>
          <a:xfrm>
            <a:off x="7588275" y="2161075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Szöveg helye 5">
            <a:extLst>
              <a:ext uri="{FF2B5EF4-FFF2-40B4-BE49-F238E27FC236}">
                <a16:creationId xmlns:a16="http://schemas.microsoft.com/office/drawing/2014/main" id="{2AFCD45B-AB71-4989-A1EE-58C52AB990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110461" y="2289890"/>
            <a:ext cx="1098300" cy="363200"/>
          </a:xfrm>
          <a:solidFill>
            <a:srgbClr val="5CC1CB"/>
          </a:solidFill>
        </p:spPr>
        <p:txBody>
          <a:bodyPr lIns="72000" tIns="0" bIns="0" anchor="t"/>
          <a:lstStyle>
            <a:lvl1pPr algn="l">
              <a:lnSpc>
                <a:spcPct val="100000"/>
              </a:lnSpc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81" name="Szöveg helye 5">
            <a:extLst>
              <a:ext uri="{FF2B5EF4-FFF2-40B4-BE49-F238E27FC236}">
                <a16:creationId xmlns:a16="http://schemas.microsoft.com/office/drawing/2014/main" id="{3FC5DA39-1342-460E-9D15-64BEDB81A33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598272" y="2292259"/>
            <a:ext cx="1098300" cy="363200"/>
          </a:xfrm>
          <a:solidFill>
            <a:srgbClr val="5CC1CB"/>
          </a:solidFill>
        </p:spPr>
        <p:txBody>
          <a:bodyPr lIns="72000" tIns="0" bIns="0" anchor="t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ex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82" name="Szöveg helye 5">
            <a:extLst>
              <a:ext uri="{FF2B5EF4-FFF2-40B4-BE49-F238E27FC236}">
                <a16:creationId xmlns:a16="http://schemas.microsoft.com/office/drawing/2014/main" id="{5914958F-3008-471F-A929-DC36B45E0CE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847397" y="2289890"/>
            <a:ext cx="1098300" cy="363200"/>
          </a:xfrm>
          <a:solidFill>
            <a:srgbClr val="5CC1CB"/>
          </a:solidFill>
        </p:spPr>
        <p:txBody>
          <a:bodyPr lIns="72000" tIns="0" bIns="0" anchor="t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83" name="Szöveg helye 5">
            <a:extLst>
              <a:ext uri="{FF2B5EF4-FFF2-40B4-BE49-F238E27FC236}">
                <a16:creationId xmlns:a16="http://schemas.microsoft.com/office/drawing/2014/main" id="{18C4E654-4C7E-4E1E-8C31-95ABE39CD80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075299" y="2296453"/>
            <a:ext cx="1098300" cy="363200"/>
          </a:xfrm>
          <a:solidFill>
            <a:srgbClr val="5CC1CB"/>
          </a:solidFill>
        </p:spPr>
        <p:txBody>
          <a:bodyPr lIns="72000" tIns="0" bIns="0" anchor="t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</p:txBody>
      </p:sp>
      <p:cxnSp>
        <p:nvCxnSpPr>
          <p:cNvPr id="86" name="Egyenes összekötő 85">
            <a:extLst>
              <a:ext uri="{FF2B5EF4-FFF2-40B4-BE49-F238E27FC236}">
                <a16:creationId xmlns:a16="http://schemas.microsoft.com/office/drawing/2014/main" id="{8FA87A9D-E595-4BC0-88B1-690727FACBDD}"/>
              </a:ext>
            </a:extLst>
          </p:cNvPr>
          <p:cNvCxnSpPr/>
          <p:nvPr userDrawn="1"/>
        </p:nvCxnSpPr>
        <p:spPr>
          <a:xfrm>
            <a:off x="5135406" y="2161117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Egyenes összekötő 44">
            <a:extLst>
              <a:ext uri="{FF2B5EF4-FFF2-40B4-BE49-F238E27FC236}">
                <a16:creationId xmlns:a16="http://schemas.microsoft.com/office/drawing/2014/main" id="{B3FDC04E-6833-4D0D-A3EE-95E3596E65BC}"/>
              </a:ext>
            </a:extLst>
          </p:cNvPr>
          <p:cNvCxnSpPr>
            <a:cxnSpLocks/>
          </p:cNvCxnSpPr>
          <p:nvPr userDrawn="1"/>
        </p:nvCxnSpPr>
        <p:spPr>
          <a:xfrm>
            <a:off x="792958" y="2482746"/>
            <a:ext cx="0" cy="23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Egyenes összekötő 135">
            <a:extLst>
              <a:ext uri="{FF2B5EF4-FFF2-40B4-BE49-F238E27FC236}">
                <a16:creationId xmlns:a16="http://schemas.microsoft.com/office/drawing/2014/main" id="{91B07D81-CF5B-41FD-8315-ED27F10A291F}"/>
              </a:ext>
            </a:extLst>
          </p:cNvPr>
          <p:cNvCxnSpPr>
            <a:cxnSpLocks/>
          </p:cNvCxnSpPr>
          <p:nvPr userDrawn="1"/>
        </p:nvCxnSpPr>
        <p:spPr>
          <a:xfrm flipH="1">
            <a:off x="2032191" y="2503530"/>
            <a:ext cx="4548" cy="23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Egyenes összekötő 137">
            <a:extLst>
              <a:ext uri="{FF2B5EF4-FFF2-40B4-BE49-F238E27FC236}">
                <a16:creationId xmlns:a16="http://schemas.microsoft.com/office/drawing/2014/main" id="{59AAA213-9687-48BC-A50F-8867649FBFD0}"/>
              </a:ext>
            </a:extLst>
          </p:cNvPr>
          <p:cNvCxnSpPr>
            <a:cxnSpLocks/>
          </p:cNvCxnSpPr>
          <p:nvPr userDrawn="1"/>
        </p:nvCxnSpPr>
        <p:spPr>
          <a:xfrm>
            <a:off x="3273417" y="2503530"/>
            <a:ext cx="0" cy="23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Egyenes összekötő 140">
            <a:extLst>
              <a:ext uri="{FF2B5EF4-FFF2-40B4-BE49-F238E27FC236}">
                <a16:creationId xmlns:a16="http://schemas.microsoft.com/office/drawing/2014/main" id="{514BAB75-F578-473C-AED1-F3674022ADFD}"/>
              </a:ext>
            </a:extLst>
          </p:cNvPr>
          <p:cNvCxnSpPr>
            <a:cxnSpLocks/>
          </p:cNvCxnSpPr>
          <p:nvPr userDrawn="1"/>
        </p:nvCxnSpPr>
        <p:spPr>
          <a:xfrm flipH="1">
            <a:off x="4513614" y="2494643"/>
            <a:ext cx="6237" cy="23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Egyenes összekötő 141">
            <a:extLst>
              <a:ext uri="{FF2B5EF4-FFF2-40B4-BE49-F238E27FC236}">
                <a16:creationId xmlns:a16="http://schemas.microsoft.com/office/drawing/2014/main" id="{1981F3BA-4A25-4E7E-A73A-40F69C6FDDF5}"/>
              </a:ext>
            </a:extLst>
          </p:cNvPr>
          <p:cNvCxnSpPr>
            <a:cxnSpLocks/>
          </p:cNvCxnSpPr>
          <p:nvPr userDrawn="1"/>
        </p:nvCxnSpPr>
        <p:spPr>
          <a:xfrm>
            <a:off x="5766671" y="2497333"/>
            <a:ext cx="0" cy="23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Egyenes összekötő 142">
            <a:extLst>
              <a:ext uri="{FF2B5EF4-FFF2-40B4-BE49-F238E27FC236}">
                <a16:creationId xmlns:a16="http://schemas.microsoft.com/office/drawing/2014/main" id="{1BFC9635-4529-41D8-9779-B1E7D519F4E6}"/>
              </a:ext>
            </a:extLst>
          </p:cNvPr>
          <p:cNvCxnSpPr>
            <a:cxnSpLocks/>
          </p:cNvCxnSpPr>
          <p:nvPr userDrawn="1"/>
        </p:nvCxnSpPr>
        <p:spPr>
          <a:xfrm>
            <a:off x="7015252" y="2494643"/>
            <a:ext cx="0" cy="23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232428AB-ACA7-4DCE-BE4F-7455ACBCA358}"/>
              </a:ext>
            </a:extLst>
          </p:cNvPr>
          <p:cNvCxnSpPr>
            <a:cxnSpLocks/>
          </p:cNvCxnSpPr>
          <p:nvPr userDrawn="1"/>
        </p:nvCxnSpPr>
        <p:spPr>
          <a:xfrm flipH="1">
            <a:off x="788811" y="2488129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Egyenes összekötő 143">
            <a:extLst>
              <a:ext uri="{FF2B5EF4-FFF2-40B4-BE49-F238E27FC236}">
                <a16:creationId xmlns:a16="http://schemas.microsoft.com/office/drawing/2014/main" id="{27DC6EB6-913E-4EEB-8437-AC35683EFA0A}"/>
              </a:ext>
            </a:extLst>
          </p:cNvPr>
          <p:cNvCxnSpPr>
            <a:cxnSpLocks/>
          </p:cNvCxnSpPr>
          <p:nvPr userDrawn="1"/>
        </p:nvCxnSpPr>
        <p:spPr>
          <a:xfrm flipH="1">
            <a:off x="785405" y="372910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Egyenes összekötő 144">
            <a:extLst>
              <a:ext uri="{FF2B5EF4-FFF2-40B4-BE49-F238E27FC236}">
                <a16:creationId xmlns:a16="http://schemas.microsoft.com/office/drawing/2014/main" id="{B19C9888-65DB-49A1-A8ED-F029369D937A}"/>
              </a:ext>
            </a:extLst>
          </p:cNvPr>
          <p:cNvCxnSpPr>
            <a:cxnSpLocks/>
          </p:cNvCxnSpPr>
          <p:nvPr userDrawn="1"/>
        </p:nvCxnSpPr>
        <p:spPr>
          <a:xfrm flipH="1">
            <a:off x="785405" y="412421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Egyenes összekötő 145">
            <a:extLst>
              <a:ext uri="{FF2B5EF4-FFF2-40B4-BE49-F238E27FC236}">
                <a16:creationId xmlns:a16="http://schemas.microsoft.com/office/drawing/2014/main" id="{06E89C37-80F7-40AC-81B8-4FC5DA5DD1B8}"/>
              </a:ext>
            </a:extLst>
          </p:cNvPr>
          <p:cNvCxnSpPr>
            <a:cxnSpLocks/>
          </p:cNvCxnSpPr>
          <p:nvPr userDrawn="1"/>
        </p:nvCxnSpPr>
        <p:spPr>
          <a:xfrm flipH="1">
            <a:off x="2036739" y="3009945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Egyenes összekötő 146">
            <a:extLst>
              <a:ext uri="{FF2B5EF4-FFF2-40B4-BE49-F238E27FC236}">
                <a16:creationId xmlns:a16="http://schemas.microsoft.com/office/drawing/2014/main" id="{CF80155F-E706-43DF-9AC7-D48E6D242053}"/>
              </a:ext>
            </a:extLst>
          </p:cNvPr>
          <p:cNvCxnSpPr>
            <a:cxnSpLocks/>
          </p:cNvCxnSpPr>
          <p:nvPr userDrawn="1"/>
        </p:nvCxnSpPr>
        <p:spPr>
          <a:xfrm flipH="1">
            <a:off x="2029631" y="338172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Egyenes összekötő 147">
            <a:extLst>
              <a:ext uri="{FF2B5EF4-FFF2-40B4-BE49-F238E27FC236}">
                <a16:creationId xmlns:a16="http://schemas.microsoft.com/office/drawing/2014/main" id="{C74D0AE4-A642-47C7-A74B-E772F00D8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2036739" y="374989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Egyenes összekötő 148">
            <a:extLst>
              <a:ext uri="{FF2B5EF4-FFF2-40B4-BE49-F238E27FC236}">
                <a16:creationId xmlns:a16="http://schemas.microsoft.com/office/drawing/2014/main" id="{3D04D45A-C8DF-48CC-96BB-A6953378B47F}"/>
              </a:ext>
            </a:extLst>
          </p:cNvPr>
          <p:cNvCxnSpPr>
            <a:cxnSpLocks/>
          </p:cNvCxnSpPr>
          <p:nvPr userDrawn="1"/>
        </p:nvCxnSpPr>
        <p:spPr>
          <a:xfrm flipH="1">
            <a:off x="2036739" y="409024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Egyenes összekötő 149">
            <a:extLst>
              <a:ext uri="{FF2B5EF4-FFF2-40B4-BE49-F238E27FC236}">
                <a16:creationId xmlns:a16="http://schemas.microsoft.com/office/drawing/2014/main" id="{0475DF98-3057-4CDB-87F4-4AEEBB0749C3}"/>
              </a:ext>
            </a:extLst>
          </p:cNvPr>
          <p:cNvCxnSpPr>
            <a:cxnSpLocks/>
          </p:cNvCxnSpPr>
          <p:nvPr userDrawn="1"/>
        </p:nvCxnSpPr>
        <p:spPr>
          <a:xfrm flipH="1">
            <a:off x="3276157" y="3377269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Egyenes összekötő 150">
            <a:extLst>
              <a:ext uri="{FF2B5EF4-FFF2-40B4-BE49-F238E27FC236}">
                <a16:creationId xmlns:a16="http://schemas.microsoft.com/office/drawing/2014/main" id="{3B0B02E7-B18D-4D83-9F61-A14240EA115A}"/>
              </a:ext>
            </a:extLst>
          </p:cNvPr>
          <p:cNvCxnSpPr>
            <a:cxnSpLocks/>
          </p:cNvCxnSpPr>
          <p:nvPr userDrawn="1"/>
        </p:nvCxnSpPr>
        <p:spPr>
          <a:xfrm flipH="1">
            <a:off x="3273417" y="3010467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Egyenes összekötő 151">
            <a:extLst>
              <a:ext uri="{FF2B5EF4-FFF2-40B4-BE49-F238E27FC236}">
                <a16:creationId xmlns:a16="http://schemas.microsoft.com/office/drawing/2014/main" id="{8C520A2E-6BF5-49BE-B486-D7D77E0B21AB}"/>
              </a:ext>
            </a:extLst>
          </p:cNvPr>
          <p:cNvCxnSpPr>
            <a:cxnSpLocks/>
          </p:cNvCxnSpPr>
          <p:nvPr userDrawn="1"/>
        </p:nvCxnSpPr>
        <p:spPr>
          <a:xfrm flipH="1">
            <a:off x="3273417" y="374989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Egyenes összekötő 152">
            <a:extLst>
              <a:ext uri="{FF2B5EF4-FFF2-40B4-BE49-F238E27FC236}">
                <a16:creationId xmlns:a16="http://schemas.microsoft.com/office/drawing/2014/main" id="{E69267CE-C258-4596-8801-9A683F49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3273417" y="410545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Egyenes összekötő 153">
            <a:extLst>
              <a:ext uri="{FF2B5EF4-FFF2-40B4-BE49-F238E27FC236}">
                <a16:creationId xmlns:a16="http://schemas.microsoft.com/office/drawing/2014/main" id="{56FD985F-7703-4090-B050-15CFE1B40647}"/>
              </a:ext>
            </a:extLst>
          </p:cNvPr>
          <p:cNvCxnSpPr>
            <a:cxnSpLocks/>
          </p:cNvCxnSpPr>
          <p:nvPr userDrawn="1"/>
        </p:nvCxnSpPr>
        <p:spPr>
          <a:xfrm flipH="1">
            <a:off x="4519943" y="301472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Egyenes összekötő 154">
            <a:extLst>
              <a:ext uri="{FF2B5EF4-FFF2-40B4-BE49-F238E27FC236}">
                <a16:creationId xmlns:a16="http://schemas.microsoft.com/office/drawing/2014/main" id="{1206D2B7-212E-4FD5-9C49-3A810AB8AB43}"/>
              </a:ext>
            </a:extLst>
          </p:cNvPr>
          <p:cNvCxnSpPr>
            <a:cxnSpLocks/>
          </p:cNvCxnSpPr>
          <p:nvPr userDrawn="1"/>
        </p:nvCxnSpPr>
        <p:spPr>
          <a:xfrm flipH="1">
            <a:off x="4522591" y="338172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Egyenes összekötő 155">
            <a:extLst>
              <a:ext uri="{FF2B5EF4-FFF2-40B4-BE49-F238E27FC236}">
                <a16:creationId xmlns:a16="http://schemas.microsoft.com/office/drawing/2014/main" id="{2BA6A8BA-55A5-49EF-BFD2-93FDF37866E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32550" y="376509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Egyenes összekötő 156">
            <a:extLst>
              <a:ext uri="{FF2B5EF4-FFF2-40B4-BE49-F238E27FC236}">
                <a16:creationId xmlns:a16="http://schemas.microsoft.com/office/drawing/2014/main" id="{EFCD5429-FB7B-40BA-975D-B78E1295641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19851" y="406387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Egyenes összekötő 157">
            <a:extLst>
              <a:ext uri="{FF2B5EF4-FFF2-40B4-BE49-F238E27FC236}">
                <a16:creationId xmlns:a16="http://schemas.microsoft.com/office/drawing/2014/main" id="{277621DF-65DE-4B13-9CE8-5EC1AC809424}"/>
              </a:ext>
            </a:extLst>
          </p:cNvPr>
          <p:cNvCxnSpPr>
            <a:cxnSpLocks/>
          </p:cNvCxnSpPr>
          <p:nvPr userDrawn="1"/>
        </p:nvCxnSpPr>
        <p:spPr>
          <a:xfrm flipH="1">
            <a:off x="5759642" y="3022853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Egyenes összekötő 158">
            <a:extLst>
              <a:ext uri="{FF2B5EF4-FFF2-40B4-BE49-F238E27FC236}">
                <a16:creationId xmlns:a16="http://schemas.microsoft.com/office/drawing/2014/main" id="{FA28771D-AA4C-443C-8E63-34F2AD3B56BB}"/>
              </a:ext>
            </a:extLst>
          </p:cNvPr>
          <p:cNvCxnSpPr>
            <a:cxnSpLocks/>
          </p:cNvCxnSpPr>
          <p:nvPr userDrawn="1"/>
        </p:nvCxnSpPr>
        <p:spPr>
          <a:xfrm flipH="1">
            <a:off x="5769209" y="338172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Egyenes összekötő 159">
            <a:extLst>
              <a:ext uri="{FF2B5EF4-FFF2-40B4-BE49-F238E27FC236}">
                <a16:creationId xmlns:a16="http://schemas.microsoft.com/office/drawing/2014/main" id="{1DDC74C9-AE27-4A83-AABB-3DDB837D509C}"/>
              </a:ext>
            </a:extLst>
          </p:cNvPr>
          <p:cNvCxnSpPr>
            <a:cxnSpLocks/>
          </p:cNvCxnSpPr>
          <p:nvPr userDrawn="1"/>
        </p:nvCxnSpPr>
        <p:spPr>
          <a:xfrm flipH="1">
            <a:off x="5766671" y="37529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Egyenes összekötő 160">
            <a:extLst>
              <a:ext uri="{FF2B5EF4-FFF2-40B4-BE49-F238E27FC236}">
                <a16:creationId xmlns:a16="http://schemas.microsoft.com/office/drawing/2014/main" id="{FB789C3C-EBD5-44B4-8D1C-814DAFF49CA1}"/>
              </a:ext>
            </a:extLst>
          </p:cNvPr>
          <p:cNvCxnSpPr>
            <a:cxnSpLocks/>
          </p:cNvCxnSpPr>
          <p:nvPr userDrawn="1"/>
        </p:nvCxnSpPr>
        <p:spPr>
          <a:xfrm flipH="1">
            <a:off x="5766469" y="409024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Egyenes összekötő 161">
            <a:extLst>
              <a:ext uri="{FF2B5EF4-FFF2-40B4-BE49-F238E27FC236}">
                <a16:creationId xmlns:a16="http://schemas.microsoft.com/office/drawing/2014/main" id="{FB2C4F55-7E8C-4548-9A48-25A7FE610A8E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5252" y="3022853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Egyenes összekötő 162">
            <a:extLst>
              <a:ext uri="{FF2B5EF4-FFF2-40B4-BE49-F238E27FC236}">
                <a16:creationId xmlns:a16="http://schemas.microsoft.com/office/drawing/2014/main" id="{1CF77D93-3F02-46F1-B47C-91442932693D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2757" y="338172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Egyenes összekötő 163">
            <a:extLst>
              <a:ext uri="{FF2B5EF4-FFF2-40B4-BE49-F238E27FC236}">
                <a16:creationId xmlns:a16="http://schemas.microsoft.com/office/drawing/2014/main" id="{D1634D8D-BEEA-47CD-B293-B2C72E4A9D6D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0017" y="376509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Egyenes összekötő 164">
            <a:extLst>
              <a:ext uri="{FF2B5EF4-FFF2-40B4-BE49-F238E27FC236}">
                <a16:creationId xmlns:a16="http://schemas.microsoft.com/office/drawing/2014/main" id="{61C7001A-6E3B-4491-8B80-E42B0BA013EA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5252" y="412188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Egyenes összekötő 165">
            <a:extLst>
              <a:ext uri="{FF2B5EF4-FFF2-40B4-BE49-F238E27FC236}">
                <a16:creationId xmlns:a16="http://schemas.microsoft.com/office/drawing/2014/main" id="{B58A7CCF-34C1-481A-B4A3-B055D1F25BFF}"/>
              </a:ext>
            </a:extLst>
          </p:cNvPr>
          <p:cNvCxnSpPr>
            <a:cxnSpLocks/>
          </p:cNvCxnSpPr>
          <p:nvPr userDrawn="1"/>
        </p:nvCxnSpPr>
        <p:spPr>
          <a:xfrm flipH="1">
            <a:off x="2031776" y="2501973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Egyenes összekötő 166">
            <a:extLst>
              <a:ext uri="{FF2B5EF4-FFF2-40B4-BE49-F238E27FC236}">
                <a16:creationId xmlns:a16="http://schemas.microsoft.com/office/drawing/2014/main" id="{AB00E522-F35F-4101-B534-A4D1259D5C82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9866" y="2502722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Egyenes összekötő 167">
            <a:extLst>
              <a:ext uri="{FF2B5EF4-FFF2-40B4-BE49-F238E27FC236}">
                <a16:creationId xmlns:a16="http://schemas.microsoft.com/office/drawing/2014/main" id="{5C87315E-E560-4256-AFE0-D54CE149B16B}"/>
              </a:ext>
            </a:extLst>
          </p:cNvPr>
          <p:cNvCxnSpPr>
            <a:cxnSpLocks/>
          </p:cNvCxnSpPr>
          <p:nvPr userDrawn="1"/>
        </p:nvCxnSpPr>
        <p:spPr>
          <a:xfrm flipH="1">
            <a:off x="4514767" y="2490935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Egyenes összekötő 168">
            <a:extLst>
              <a:ext uri="{FF2B5EF4-FFF2-40B4-BE49-F238E27FC236}">
                <a16:creationId xmlns:a16="http://schemas.microsoft.com/office/drawing/2014/main" id="{081474A9-A18C-451B-8D4D-E16B954DDB50}"/>
              </a:ext>
            </a:extLst>
          </p:cNvPr>
          <p:cNvCxnSpPr>
            <a:cxnSpLocks/>
          </p:cNvCxnSpPr>
          <p:nvPr userDrawn="1"/>
        </p:nvCxnSpPr>
        <p:spPr>
          <a:xfrm flipH="1">
            <a:off x="5762899" y="2497060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Egyenes összekötő 169">
            <a:extLst>
              <a:ext uri="{FF2B5EF4-FFF2-40B4-BE49-F238E27FC236}">
                <a16:creationId xmlns:a16="http://schemas.microsoft.com/office/drawing/2014/main" id="{4258ADDD-0F9D-4F19-9AEF-D835BEEED548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1170" y="2491702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Szöveg helye 3">
            <a:extLst>
              <a:ext uri="{FF2B5EF4-FFF2-40B4-BE49-F238E27FC236}">
                <a16:creationId xmlns:a16="http://schemas.microsoft.com/office/drawing/2014/main" id="{9DBEC486-CD67-423E-AAF4-47AB8A0CDA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3968" y="2822186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107" name="Szöveg helye 3">
            <a:extLst>
              <a:ext uri="{FF2B5EF4-FFF2-40B4-BE49-F238E27FC236}">
                <a16:creationId xmlns:a16="http://schemas.microsoft.com/office/drawing/2014/main" id="{C33F74EA-40A4-4F78-8981-E70E5B1E6FD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99155" y="3542244"/>
            <a:ext cx="949832" cy="295563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8" name="Szöveg helye 3">
            <a:extLst>
              <a:ext uri="{FF2B5EF4-FFF2-40B4-BE49-F238E27FC236}">
                <a16:creationId xmlns:a16="http://schemas.microsoft.com/office/drawing/2014/main" id="{3B4DE2AF-63AC-4678-9275-77996286FF6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99155" y="3906716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2" name="Szöveg helye 3">
            <a:extLst>
              <a:ext uri="{FF2B5EF4-FFF2-40B4-BE49-F238E27FC236}">
                <a16:creationId xmlns:a16="http://schemas.microsoft.com/office/drawing/2014/main" id="{93377162-4EFC-4F33-839E-5C51491048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240641" y="2822186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3" name="Szöveg helye 3">
            <a:extLst>
              <a:ext uri="{FF2B5EF4-FFF2-40B4-BE49-F238E27FC236}">
                <a16:creationId xmlns:a16="http://schemas.microsoft.com/office/drawing/2014/main" id="{336F4932-271C-473F-B23A-35959DCE5CD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243381" y="3193967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7" name="Szöveg helye 3">
            <a:extLst>
              <a:ext uri="{FF2B5EF4-FFF2-40B4-BE49-F238E27FC236}">
                <a16:creationId xmlns:a16="http://schemas.microsoft.com/office/drawing/2014/main" id="{548EB7A9-603D-4B0C-A2F8-ED078360A62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240641" y="3563028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8" name="Szöveg helye 3">
            <a:extLst>
              <a:ext uri="{FF2B5EF4-FFF2-40B4-BE49-F238E27FC236}">
                <a16:creationId xmlns:a16="http://schemas.microsoft.com/office/drawing/2014/main" id="{095780B1-2800-43F5-9871-E2B8E840023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240641" y="3932782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0" name="Szöveg helye 3">
            <a:extLst>
              <a:ext uri="{FF2B5EF4-FFF2-40B4-BE49-F238E27FC236}">
                <a16:creationId xmlns:a16="http://schemas.microsoft.com/office/drawing/2014/main" id="{28321B1D-35C2-4ECE-A4EB-62110862B3E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487167" y="2822186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1" name="Szöveg helye 3">
            <a:extLst>
              <a:ext uri="{FF2B5EF4-FFF2-40B4-BE49-F238E27FC236}">
                <a16:creationId xmlns:a16="http://schemas.microsoft.com/office/drawing/2014/main" id="{807671B5-E90F-4FD7-AE7F-FFDD4E946C4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489907" y="3193967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2" name="Szöveg helye 3">
            <a:extLst>
              <a:ext uri="{FF2B5EF4-FFF2-40B4-BE49-F238E27FC236}">
                <a16:creationId xmlns:a16="http://schemas.microsoft.com/office/drawing/2014/main" id="{91A831FE-0B1C-423D-A0BC-1DFFEEC32DD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487167" y="3563028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3" name="Szöveg helye 3">
            <a:extLst>
              <a:ext uri="{FF2B5EF4-FFF2-40B4-BE49-F238E27FC236}">
                <a16:creationId xmlns:a16="http://schemas.microsoft.com/office/drawing/2014/main" id="{F2D8D697-9633-4BE1-8DB5-6930E4A31F2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3487167" y="3925185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4" name="Szöveg helye 3">
            <a:extLst>
              <a:ext uri="{FF2B5EF4-FFF2-40B4-BE49-F238E27FC236}">
                <a16:creationId xmlns:a16="http://schemas.microsoft.com/office/drawing/2014/main" id="{4F01D6D9-9716-46FE-A3D2-6D8B6D8FABD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733693" y="2822186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5" name="Szöveg helye 3">
            <a:extLst>
              <a:ext uri="{FF2B5EF4-FFF2-40B4-BE49-F238E27FC236}">
                <a16:creationId xmlns:a16="http://schemas.microsoft.com/office/drawing/2014/main" id="{05E8A4F4-AE86-4A39-A250-3AC073B5BB5C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36433" y="3193967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6" name="Szöveg helye 3">
            <a:extLst>
              <a:ext uri="{FF2B5EF4-FFF2-40B4-BE49-F238E27FC236}">
                <a16:creationId xmlns:a16="http://schemas.microsoft.com/office/drawing/2014/main" id="{4D0A95B5-39BB-4087-8088-928A839982C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733693" y="3563028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7" name="Szöveg helye 3">
            <a:extLst>
              <a:ext uri="{FF2B5EF4-FFF2-40B4-BE49-F238E27FC236}">
                <a16:creationId xmlns:a16="http://schemas.microsoft.com/office/drawing/2014/main" id="{69D857C3-F106-4E84-95BE-519F32FF3C3C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733693" y="3925185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8" name="Szöveg helye 3">
            <a:extLst>
              <a:ext uri="{FF2B5EF4-FFF2-40B4-BE49-F238E27FC236}">
                <a16:creationId xmlns:a16="http://schemas.microsoft.com/office/drawing/2014/main" id="{21C49626-E064-436B-9FF5-E47F118332E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980219" y="2822186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9" name="Szöveg helye 3">
            <a:extLst>
              <a:ext uri="{FF2B5EF4-FFF2-40B4-BE49-F238E27FC236}">
                <a16:creationId xmlns:a16="http://schemas.microsoft.com/office/drawing/2014/main" id="{2C8E3CDE-431C-41CE-AB7E-6DDB5AACC9A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82959" y="3193967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0" name="Szöveg helye 3">
            <a:extLst>
              <a:ext uri="{FF2B5EF4-FFF2-40B4-BE49-F238E27FC236}">
                <a16:creationId xmlns:a16="http://schemas.microsoft.com/office/drawing/2014/main" id="{1B111A33-E1BF-4FBB-9648-70918B3FD20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5980219" y="3563028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1" name="Szöveg helye 3">
            <a:extLst>
              <a:ext uri="{FF2B5EF4-FFF2-40B4-BE49-F238E27FC236}">
                <a16:creationId xmlns:a16="http://schemas.microsoft.com/office/drawing/2014/main" id="{858F8DC0-C716-4FAA-A6F5-2F1601CA989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980219" y="3925185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2" name="Szöveg helye 3">
            <a:extLst>
              <a:ext uri="{FF2B5EF4-FFF2-40B4-BE49-F238E27FC236}">
                <a16:creationId xmlns:a16="http://schemas.microsoft.com/office/drawing/2014/main" id="{1618596E-8286-4D9A-8517-5D9C033311B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229002" y="2822708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3" name="Szöveg helye 3">
            <a:extLst>
              <a:ext uri="{FF2B5EF4-FFF2-40B4-BE49-F238E27FC236}">
                <a16:creationId xmlns:a16="http://schemas.microsoft.com/office/drawing/2014/main" id="{6ADA2306-D113-4EAD-978F-13892D1C23C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231742" y="3181316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4" name="Szöveg helye 3">
            <a:extLst>
              <a:ext uri="{FF2B5EF4-FFF2-40B4-BE49-F238E27FC236}">
                <a16:creationId xmlns:a16="http://schemas.microsoft.com/office/drawing/2014/main" id="{D0015552-CF78-4B16-8E12-5F38328F76A3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7229002" y="3550377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5" name="Szöveg helye 3">
            <a:extLst>
              <a:ext uri="{FF2B5EF4-FFF2-40B4-BE49-F238E27FC236}">
                <a16:creationId xmlns:a16="http://schemas.microsoft.com/office/drawing/2014/main" id="{D91B9127-1577-4283-B01D-47A68289A8B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29002" y="3912534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94" name="Fußzeilenplatzhalter 6">
            <a:extLst>
              <a:ext uri="{FF2B5EF4-FFF2-40B4-BE49-F238E27FC236}">
                <a16:creationId xmlns:a16="http://schemas.microsoft.com/office/drawing/2014/main" id="{D153414A-0E19-4D2C-AA71-13A6DD234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cxnSp>
        <p:nvCxnSpPr>
          <p:cNvPr id="116" name="Egyenes összekötő 115">
            <a:extLst>
              <a:ext uri="{FF2B5EF4-FFF2-40B4-BE49-F238E27FC236}">
                <a16:creationId xmlns:a16="http://schemas.microsoft.com/office/drawing/2014/main" id="{42DD9D74-6AAB-4B68-A684-EE7891B7AAD5}"/>
              </a:ext>
            </a:extLst>
          </p:cNvPr>
          <p:cNvCxnSpPr>
            <a:cxnSpLocks/>
          </p:cNvCxnSpPr>
          <p:nvPr userDrawn="1"/>
        </p:nvCxnSpPr>
        <p:spPr>
          <a:xfrm flipH="1">
            <a:off x="792958" y="295769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Egyenes összekötő 118">
            <a:extLst>
              <a:ext uri="{FF2B5EF4-FFF2-40B4-BE49-F238E27FC236}">
                <a16:creationId xmlns:a16="http://schemas.microsoft.com/office/drawing/2014/main" id="{F8D19527-F613-4C19-A83B-9CB61A33DB2E}"/>
              </a:ext>
            </a:extLst>
          </p:cNvPr>
          <p:cNvCxnSpPr>
            <a:cxnSpLocks/>
          </p:cNvCxnSpPr>
          <p:nvPr userDrawn="1"/>
        </p:nvCxnSpPr>
        <p:spPr>
          <a:xfrm flipH="1">
            <a:off x="795698" y="336382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3" name="Szöveg helye 3">
            <a:extLst>
              <a:ext uri="{FF2B5EF4-FFF2-40B4-BE49-F238E27FC236}">
                <a16:creationId xmlns:a16="http://schemas.microsoft.com/office/drawing/2014/main" id="{19F9279A-26F1-4EB2-A33B-81C5D5C1F86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99155" y="4271430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76" name="Szöveg helye 3">
            <a:extLst>
              <a:ext uri="{FF2B5EF4-FFF2-40B4-BE49-F238E27FC236}">
                <a16:creationId xmlns:a16="http://schemas.microsoft.com/office/drawing/2014/main" id="{4AA16BA5-9B7B-4FE1-AA0A-F7EC4ECCFAB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2243381" y="4662122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77" name="Szöveg helye 3">
            <a:extLst>
              <a:ext uri="{FF2B5EF4-FFF2-40B4-BE49-F238E27FC236}">
                <a16:creationId xmlns:a16="http://schemas.microsoft.com/office/drawing/2014/main" id="{F3968C54-803A-4827-929D-E7C0E3FB70F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489907" y="4287327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78" name="Szöveg helye 3">
            <a:extLst>
              <a:ext uri="{FF2B5EF4-FFF2-40B4-BE49-F238E27FC236}">
                <a16:creationId xmlns:a16="http://schemas.microsoft.com/office/drawing/2014/main" id="{8B79BF85-2174-4AE0-94FC-D45F70FDEFB5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489907" y="4662122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79" name="Szöveg helye 3">
            <a:extLst>
              <a:ext uri="{FF2B5EF4-FFF2-40B4-BE49-F238E27FC236}">
                <a16:creationId xmlns:a16="http://schemas.microsoft.com/office/drawing/2014/main" id="{8CBF1307-FFA7-40A0-8B64-01C7B4D85CFC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732369" y="4287327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80" name="Szöveg helye 3">
            <a:extLst>
              <a:ext uri="{FF2B5EF4-FFF2-40B4-BE49-F238E27FC236}">
                <a16:creationId xmlns:a16="http://schemas.microsoft.com/office/drawing/2014/main" id="{E0EDD4CB-BA78-428A-9949-C2B53B496581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736433" y="4654381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81" name="Szöveg helye 3">
            <a:extLst>
              <a:ext uri="{FF2B5EF4-FFF2-40B4-BE49-F238E27FC236}">
                <a16:creationId xmlns:a16="http://schemas.microsoft.com/office/drawing/2014/main" id="{E1FBA756-892D-4E44-9EEF-1D963EAE972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987629" y="4287327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82" name="Szöveg helye 3">
            <a:extLst>
              <a:ext uri="{FF2B5EF4-FFF2-40B4-BE49-F238E27FC236}">
                <a16:creationId xmlns:a16="http://schemas.microsoft.com/office/drawing/2014/main" id="{08F2635B-58B1-4C21-9703-E9DF264D009D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5987629" y="4658409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83" name="Szöveg helye 3">
            <a:extLst>
              <a:ext uri="{FF2B5EF4-FFF2-40B4-BE49-F238E27FC236}">
                <a16:creationId xmlns:a16="http://schemas.microsoft.com/office/drawing/2014/main" id="{E7511B16-05B8-42DA-9452-225A44E7A1B6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7223767" y="4292214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84" name="Szöveg helye 3">
            <a:extLst>
              <a:ext uri="{FF2B5EF4-FFF2-40B4-BE49-F238E27FC236}">
                <a16:creationId xmlns:a16="http://schemas.microsoft.com/office/drawing/2014/main" id="{ED65FE45-A8C1-479A-BAC8-FA3BBB9987D0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7223767" y="4658409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cxnSp>
        <p:nvCxnSpPr>
          <p:cNvPr id="187" name="Egyenes összekötő 186">
            <a:extLst>
              <a:ext uri="{FF2B5EF4-FFF2-40B4-BE49-F238E27FC236}">
                <a16:creationId xmlns:a16="http://schemas.microsoft.com/office/drawing/2014/main" id="{0E2C2F97-1707-4807-A7CC-733500D20CED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2757" y="4437507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Egyenes összekötő 187">
            <a:extLst>
              <a:ext uri="{FF2B5EF4-FFF2-40B4-BE49-F238E27FC236}">
                <a16:creationId xmlns:a16="http://schemas.microsoft.com/office/drawing/2014/main" id="{5F2BD7D8-590F-4D4E-9828-2DAFDAFFA147}"/>
              </a:ext>
            </a:extLst>
          </p:cNvPr>
          <p:cNvCxnSpPr>
            <a:cxnSpLocks/>
          </p:cNvCxnSpPr>
          <p:nvPr userDrawn="1"/>
        </p:nvCxnSpPr>
        <p:spPr>
          <a:xfrm flipH="1">
            <a:off x="7012757" y="4834643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Egyenes összekötő 188">
            <a:extLst>
              <a:ext uri="{FF2B5EF4-FFF2-40B4-BE49-F238E27FC236}">
                <a16:creationId xmlns:a16="http://schemas.microsoft.com/office/drawing/2014/main" id="{F87CFCA0-5F77-4CCA-87FC-1263A45FDD4C}"/>
              </a:ext>
            </a:extLst>
          </p:cNvPr>
          <p:cNvCxnSpPr>
            <a:cxnSpLocks/>
          </p:cNvCxnSpPr>
          <p:nvPr userDrawn="1"/>
        </p:nvCxnSpPr>
        <p:spPr>
          <a:xfrm flipH="1">
            <a:off x="5766671" y="4437507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Egyenes összekötő 189">
            <a:extLst>
              <a:ext uri="{FF2B5EF4-FFF2-40B4-BE49-F238E27FC236}">
                <a16:creationId xmlns:a16="http://schemas.microsoft.com/office/drawing/2014/main" id="{4F50F9E0-3D9C-4AAD-B6A8-CC6C08FE6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62899" y="4838717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Egyenes összekötő 190">
            <a:extLst>
              <a:ext uri="{FF2B5EF4-FFF2-40B4-BE49-F238E27FC236}">
                <a16:creationId xmlns:a16="http://schemas.microsoft.com/office/drawing/2014/main" id="{160AD98A-6274-4915-A270-5BE3360D0A07}"/>
              </a:ext>
            </a:extLst>
          </p:cNvPr>
          <p:cNvCxnSpPr>
            <a:cxnSpLocks/>
          </p:cNvCxnSpPr>
          <p:nvPr userDrawn="1"/>
        </p:nvCxnSpPr>
        <p:spPr>
          <a:xfrm flipH="1">
            <a:off x="4513614" y="442968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Egyenes összekötő 191">
            <a:extLst>
              <a:ext uri="{FF2B5EF4-FFF2-40B4-BE49-F238E27FC236}">
                <a16:creationId xmlns:a16="http://schemas.microsoft.com/office/drawing/2014/main" id="{287E2D81-EDB8-4F25-BB5C-BED30DE89CAD}"/>
              </a:ext>
            </a:extLst>
          </p:cNvPr>
          <p:cNvCxnSpPr>
            <a:cxnSpLocks/>
          </p:cNvCxnSpPr>
          <p:nvPr userDrawn="1"/>
        </p:nvCxnSpPr>
        <p:spPr>
          <a:xfrm flipH="1">
            <a:off x="4514767" y="4837333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Egyenes összekötő 192">
            <a:extLst>
              <a:ext uri="{FF2B5EF4-FFF2-40B4-BE49-F238E27FC236}">
                <a16:creationId xmlns:a16="http://schemas.microsoft.com/office/drawing/2014/main" id="{BF239EC4-4338-4F65-89DD-55BC3E7CB0DE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9866" y="442968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Egyenes összekötő 193">
            <a:extLst>
              <a:ext uri="{FF2B5EF4-FFF2-40B4-BE49-F238E27FC236}">
                <a16:creationId xmlns:a16="http://schemas.microsoft.com/office/drawing/2014/main" id="{7BE9B7CE-9CDC-4B3C-8868-BA2705F6F3A7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9866" y="484533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Egyenes összekötő 194">
            <a:extLst>
              <a:ext uri="{FF2B5EF4-FFF2-40B4-BE49-F238E27FC236}">
                <a16:creationId xmlns:a16="http://schemas.microsoft.com/office/drawing/2014/main" id="{2AD046B6-18C0-40FF-B648-E09B851EEC08}"/>
              </a:ext>
            </a:extLst>
          </p:cNvPr>
          <p:cNvCxnSpPr>
            <a:cxnSpLocks/>
          </p:cNvCxnSpPr>
          <p:nvPr userDrawn="1"/>
        </p:nvCxnSpPr>
        <p:spPr>
          <a:xfrm flipH="1">
            <a:off x="2029631" y="441672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Egyenes összekötő 195">
            <a:extLst>
              <a:ext uri="{FF2B5EF4-FFF2-40B4-BE49-F238E27FC236}">
                <a16:creationId xmlns:a16="http://schemas.microsoft.com/office/drawing/2014/main" id="{8C3A856F-28BD-4582-A3E5-205DE66C4059}"/>
              </a:ext>
            </a:extLst>
          </p:cNvPr>
          <p:cNvCxnSpPr>
            <a:cxnSpLocks/>
          </p:cNvCxnSpPr>
          <p:nvPr userDrawn="1"/>
        </p:nvCxnSpPr>
        <p:spPr>
          <a:xfrm flipH="1">
            <a:off x="2026891" y="484533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Egyenes összekötő 196">
            <a:extLst>
              <a:ext uri="{FF2B5EF4-FFF2-40B4-BE49-F238E27FC236}">
                <a16:creationId xmlns:a16="http://schemas.microsoft.com/office/drawing/2014/main" id="{B566956B-8B18-4A85-8581-79F097CAC4A7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885" y="4424812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Egyenes összekötő 197">
            <a:extLst>
              <a:ext uri="{FF2B5EF4-FFF2-40B4-BE49-F238E27FC236}">
                <a16:creationId xmlns:a16="http://schemas.microsoft.com/office/drawing/2014/main" id="{C444364C-E535-4567-B042-8FDAAFC97605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885" y="4818672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Szöveg helye 3">
            <a:extLst>
              <a:ext uri="{FF2B5EF4-FFF2-40B4-BE49-F238E27FC236}">
                <a16:creationId xmlns:a16="http://schemas.microsoft.com/office/drawing/2014/main" id="{72D4B51F-93C7-44CA-9737-89BE35723AF0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99155" y="4637625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75" name="Szöveg helye 3">
            <a:extLst>
              <a:ext uri="{FF2B5EF4-FFF2-40B4-BE49-F238E27FC236}">
                <a16:creationId xmlns:a16="http://schemas.microsoft.com/office/drawing/2014/main" id="{00F224FC-98F1-4903-913D-3129C9DCA55B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243381" y="4259923"/>
            <a:ext cx="949832" cy="300360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4" name="Szöveg helye 3">
            <a:extLst>
              <a:ext uri="{FF2B5EF4-FFF2-40B4-BE49-F238E27FC236}">
                <a16:creationId xmlns:a16="http://schemas.microsoft.com/office/drawing/2014/main" id="{F34CF00C-C334-44AD-86F3-952BB8C69D8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006708" y="3173183"/>
            <a:ext cx="949832" cy="30267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42" name="Szöveg helye 41">
            <a:extLst>
              <a:ext uri="{FF2B5EF4-FFF2-40B4-BE49-F238E27FC236}">
                <a16:creationId xmlns:a16="http://schemas.microsoft.com/office/drawing/2014/main" id="{A0669221-B6EA-43E5-99EA-0C0B3AFE4453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1578690" y="2961704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199" name="Szöveg helye 41">
            <a:extLst>
              <a:ext uri="{FF2B5EF4-FFF2-40B4-BE49-F238E27FC236}">
                <a16:creationId xmlns:a16="http://schemas.microsoft.com/office/drawing/2014/main" id="{C9E4F447-B87E-4AEA-A7DE-6C493738EF0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6559109" y="4430974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0" name="Szöveg helye 41">
            <a:extLst>
              <a:ext uri="{FF2B5EF4-FFF2-40B4-BE49-F238E27FC236}">
                <a16:creationId xmlns:a16="http://schemas.microsoft.com/office/drawing/2014/main" id="{113362B7-A51A-43C8-86DC-E0E216ABFB0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1583439" y="3715683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1" name="Szöveg helye 41">
            <a:extLst>
              <a:ext uri="{FF2B5EF4-FFF2-40B4-BE49-F238E27FC236}">
                <a16:creationId xmlns:a16="http://schemas.microsoft.com/office/drawing/2014/main" id="{4C7FC862-F460-418A-9666-887D7B73378A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1577158" y="4072596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2" name="Szöveg helye 41">
            <a:extLst>
              <a:ext uri="{FF2B5EF4-FFF2-40B4-BE49-F238E27FC236}">
                <a16:creationId xmlns:a16="http://schemas.microsoft.com/office/drawing/2014/main" id="{DEFDD4E6-CAC6-499B-A124-A9F5FB1588B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1577158" y="4445596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3" name="Szöveg helye 41">
            <a:extLst>
              <a:ext uri="{FF2B5EF4-FFF2-40B4-BE49-F238E27FC236}">
                <a16:creationId xmlns:a16="http://schemas.microsoft.com/office/drawing/2014/main" id="{219B9B95-657E-403C-AFB6-24A1A08D3841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577158" y="4782057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4" name="Szöveg helye 41">
            <a:extLst>
              <a:ext uri="{FF2B5EF4-FFF2-40B4-BE49-F238E27FC236}">
                <a16:creationId xmlns:a16="http://schemas.microsoft.com/office/drawing/2014/main" id="{77665310-2A5B-464D-B450-DB501BC79928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2818591" y="2970489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5" name="Szöveg helye 41">
            <a:extLst>
              <a:ext uri="{FF2B5EF4-FFF2-40B4-BE49-F238E27FC236}">
                <a16:creationId xmlns:a16="http://schemas.microsoft.com/office/drawing/2014/main" id="{4F7BD912-CDF6-4806-8F4E-DC927D4E86D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2818591" y="3349153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6" name="Szöveg helye 41">
            <a:extLst>
              <a:ext uri="{FF2B5EF4-FFF2-40B4-BE49-F238E27FC236}">
                <a16:creationId xmlns:a16="http://schemas.microsoft.com/office/drawing/2014/main" id="{2C3D6C2E-B41A-453C-9B47-0665EA7CB693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2818591" y="3715683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7" name="Szöveg helye 41">
            <a:extLst>
              <a:ext uri="{FF2B5EF4-FFF2-40B4-BE49-F238E27FC236}">
                <a16:creationId xmlns:a16="http://schemas.microsoft.com/office/drawing/2014/main" id="{8EB41C3A-856B-44E1-AB04-56223A71D917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2813836" y="4072596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8" name="Szöveg helye 41">
            <a:extLst>
              <a:ext uri="{FF2B5EF4-FFF2-40B4-BE49-F238E27FC236}">
                <a16:creationId xmlns:a16="http://schemas.microsoft.com/office/drawing/2014/main" id="{E8687CDF-B2D7-4EB4-AC1E-877AFE620FED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2818591" y="4409470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09" name="Szöveg helye 41">
            <a:extLst>
              <a:ext uri="{FF2B5EF4-FFF2-40B4-BE49-F238E27FC236}">
                <a16:creationId xmlns:a16="http://schemas.microsoft.com/office/drawing/2014/main" id="{7A64D271-6AA4-4457-A248-3B6A2638E99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2818683" y="4801121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0" name="Szöveg helye 41">
            <a:extLst>
              <a:ext uri="{FF2B5EF4-FFF2-40B4-BE49-F238E27FC236}">
                <a16:creationId xmlns:a16="http://schemas.microsoft.com/office/drawing/2014/main" id="{839B0D74-A1DB-4D0A-A96E-9915ED4E34DC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4062427" y="2979732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1" name="Szöveg helye 41">
            <a:extLst>
              <a:ext uri="{FF2B5EF4-FFF2-40B4-BE49-F238E27FC236}">
                <a16:creationId xmlns:a16="http://schemas.microsoft.com/office/drawing/2014/main" id="{1E60B71D-B6FA-4BCC-882B-6B0DD5099C92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4060358" y="3345594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2" name="Szöveg helye 41">
            <a:extLst>
              <a:ext uri="{FF2B5EF4-FFF2-40B4-BE49-F238E27FC236}">
                <a16:creationId xmlns:a16="http://schemas.microsoft.com/office/drawing/2014/main" id="{BB15CB71-A7A0-4EC3-9123-E2DF08674655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4066247" y="3711331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3" name="Szöveg helye 41">
            <a:extLst>
              <a:ext uri="{FF2B5EF4-FFF2-40B4-BE49-F238E27FC236}">
                <a16:creationId xmlns:a16="http://schemas.microsoft.com/office/drawing/2014/main" id="{9BCDBF45-2FD2-4B2D-A205-019DE4EA9ED0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4066247" y="4069595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4" name="Szöveg helye 41">
            <a:extLst>
              <a:ext uri="{FF2B5EF4-FFF2-40B4-BE49-F238E27FC236}">
                <a16:creationId xmlns:a16="http://schemas.microsoft.com/office/drawing/2014/main" id="{A8B4B3F6-4193-410B-8FD7-DEBF197A1D0B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4060358" y="4416074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5" name="Szöveg helye 41">
            <a:extLst>
              <a:ext uri="{FF2B5EF4-FFF2-40B4-BE49-F238E27FC236}">
                <a16:creationId xmlns:a16="http://schemas.microsoft.com/office/drawing/2014/main" id="{245A342C-66DF-4B4D-B65B-2EFD5A1AEDA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4065170" y="4801120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6" name="Szöveg helye 41">
            <a:extLst>
              <a:ext uri="{FF2B5EF4-FFF2-40B4-BE49-F238E27FC236}">
                <a16:creationId xmlns:a16="http://schemas.microsoft.com/office/drawing/2014/main" id="{751813EC-BF1D-4AAE-953D-F4C93E2BD10B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5317279" y="2975027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7" name="Szöveg helye 41">
            <a:extLst>
              <a:ext uri="{FF2B5EF4-FFF2-40B4-BE49-F238E27FC236}">
                <a16:creationId xmlns:a16="http://schemas.microsoft.com/office/drawing/2014/main" id="{C074F462-7968-4051-92B8-67D0A04FA8EB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5320460" y="3335217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8" name="Szöveg helye 41">
            <a:extLst>
              <a:ext uri="{FF2B5EF4-FFF2-40B4-BE49-F238E27FC236}">
                <a16:creationId xmlns:a16="http://schemas.microsoft.com/office/drawing/2014/main" id="{2FEFB6D9-8C91-4A6E-878F-0DF0CB7CE711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316644" y="3706019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19" name="Szöveg helye 41">
            <a:extLst>
              <a:ext uri="{FF2B5EF4-FFF2-40B4-BE49-F238E27FC236}">
                <a16:creationId xmlns:a16="http://schemas.microsoft.com/office/drawing/2014/main" id="{D870FC56-910A-43E9-826D-C634F4AB618F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312968" y="4063225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0" name="Szöveg helye 41">
            <a:extLst>
              <a:ext uri="{FF2B5EF4-FFF2-40B4-BE49-F238E27FC236}">
                <a16:creationId xmlns:a16="http://schemas.microsoft.com/office/drawing/2014/main" id="{1BC2F7C7-BF07-4D9E-A99F-711536B9D632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316644" y="4429686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1" name="Szöveg helye 41">
            <a:extLst>
              <a:ext uri="{FF2B5EF4-FFF2-40B4-BE49-F238E27FC236}">
                <a16:creationId xmlns:a16="http://schemas.microsoft.com/office/drawing/2014/main" id="{C6002E45-3F89-4A1C-97AC-3E68A31E6C7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5316644" y="4811669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2" name="Szöveg helye 41">
            <a:extLst>
              <a:ext uri="{FF2B5EF4-FFF2-40B4-BE49-F238E27FC236}">
                <a16:creationId xmlns:a16="http://schemas.microsoft.com/office/drawing/2014/main" id="{61565646-22DF-4D8F-977F-CA1FB6ECD10D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6569161" y="2974570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3" name="Szöveg helye 41">
            <a:extLst>
              <a:ext uri="{FF2B5EF4-FFF2-40B4-BE49-F238E27FC236}">
                <a16:creationId xmlns:a16="http://schemas.microsoft.com/office/drawing/2014/main" id="{6C1B5FF7-C642-4608-8C96-338517560E80}"/>
              </a:ext>
            </a:extLst>
          </p:cNvPr>
          <p:cNvSpPr>
            <a:spLocks noGrp="1"/>
          </p:cNvSpPr>
          <p:nvPr>
            <p:ph type="body" sz="quarter" idx="127" hasCustomPrompt="1"/>
          </p:nvPr>
        </p:nvSpPr>
        <p:spPr>
          <a:xfrm>
            <a:off x="6559109" y="3325045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4" name="Szöveg helye 41">
            <a:extLst>
              <a:ext uri="{FF2B5EF4-FFF2-40B4-BE49-F238E27FC236}">
                <a16:creationId xmlns:a16="http://schemas.microsoft.com/office/drawing/2014/main" id="{D8C9AB71-FD33-4A56-8FE1-8B5148697707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6559109" y="3701714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5" name="Szöveg helye 41">
            <a:extLst>
              <a:ext uri="{FF2B5EF4-FFF2-40B4-BE49-F238E27FC236}">
                <a16:creationId xmlns:a16="http://schemas.microsoft.com/office/drawing/2014/main" id="{53A87424-8E74-4309-867A-45C09B620BFE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6561751" y="4061505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6" name="Szöveg helye 41">
            <a:extLst>
              <a:ext uri="{FF2B5EF4-FFF2-40B4-BE49-F238E27FC236}">
                <a16:creationId xmlns:a16="http://schemas.microsoft.com/office/drawing/2014/main" id="{F33ABC11-03A4-41AB-9C1E-078489E07002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1574433" y="3339667"/>
            <a:ext cx="371025" cy="136191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7" name="Szöveg helye 41">
            <a:extLst>
              <a:ext uri="{FF2B5EF4-FFF2-40B4-BE49-F238E27FC236}">
                <a16:creationId xmlns:a16="http://schemas.microsoft.com/office/drawing/2014/main" id="{FD92B308-0643-444F-81BE-62EE65922461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6559109" y="4798031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8" name="Szöveg helye 41">
            <a:extLst>
              <a:ext uri="{FF2B5EF4-FFF2-40B4-BE49-F238E27FC236}">
                <a16:creationId xmlns:a16="http://schemas.microsoft.com/office/drawing/2014/main" id="{71D77624-8688-4A76-8B66-0F74D679D24A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7805299" y="2979732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29" name="Szöveg helye 41">
            <a:extLst>
              <a:ext uri="{FF2B5EF4-FFF2-40B4-BE49-F238E27FC236}">
                <a16:creationId xmlns:a16="http://schemas.microsoft.com/office/drawing/2014/main" id="{09D6DD09-5A9C-4233-AE84-53BB80457412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7805299" y="3335217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0" name="Szöveg helye 41">
            <a:extLst>
              <a:ext uri="{FF2B5EF4-FFF2-40B4-BE49-F238E27FC236}">
                <a16:creationId xmlns:a16="http://schemas.microsoft.com/office/drawing/2014/main" id="{B99FC63D-46CB-43E4-B19B-8FB14E062951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7808727" y="3706019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1" name="Szöveg helye 41">
            <a:extLst>
              <a:ext uri="{FF2B5EF4-FFF2-40B4-BE49-F238E27FC236}">
                <a16:creationId xmlns:a16="http://schemas.microsoft.com/office/drawing/2014/main" id="{5CF4361D-017B-456E-AD95-29BFE2BDF002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7799112" y="4062811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2" name="Szöveg helye 41">
            <a:extLst>
              <a:ext uri="{FF2B5EF4-FFF2-40B4-BE49-F238E27FC236}">
                <a16:creationId xmlns:a16="http://schemas.microsoft.com/office/drawing/2014/main" id="{BB749D04-E456-4B26-AF35-55077FB73EDC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7798675" y="4445596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3" name="Szöveg helye 41">
            <a:extLst>
              <a:ext uri="{FF2B5EF4-FFF2-40B4-BE49-F238E27FC236}">
                <a16:creationId xmlns:a16="http://schemas.microsoft.com/office/drawing/2014/main" id="{F1862F01-55F1-4307-A8CA-59D8EE178353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7797550" y="4798031"/>
            <a:ext cx="368300" cy="150813"/>
          </a:xfrm>
        </p:spPr>
        <p:txBody>
          <a:bodyPr rIns="36000" bIns="36000" anchor="ctr"/>
          <a:lstStyle>
            <a:lvl1pPr algn="r"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5" name="Szöveg helye 41">
            <a:extLst>
              <a:ext uri="{FF2B5EF4-FFF2-40B4-BE49-F238E27FC236}">
                <a16:creationId xmlns:a16="http://schemas.microsoft.com/office/drawing/2014/main" id="{BE8CA14A-AAAA-4B9A-B1B9-184894704BBF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1570868" y="2482152"/>
            <a:ext cx="368300" cy="150813"/>
          </a:xfrm>
        </p:spPr>
        <p:txBody>
          <a:bodyPr r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6" name="Szöveg helye 41">
            <a:extLst>
              <a:ext uri="{FF2B5EF4-FFF2-40B4-BE49-F238E27FC236}">
                <a16:creationId xmlns:a16="http://schemas.microsoft.com/office/drawing/2014/main" id="{9D341C05-3934-4142-A363-5691216BCBA6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2818683" y="2486067"/>
            <a:ext cx="368300" cy="150813"/>
          </a:xfrm>
        </p:spPr>
        <p:txBody>
          <a:bodyPr r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8" name="Szöveg helye 41">
            <a:extLst>
              <a:ext uri="{FF2B5EF4-FFF2-40B4-BE49-F238E27FC236}">
                <a16:creationId xmlns:a16="http://schemas.microsoft.com/office/drawing/2014/main" id="{5DE976E1-33E9-4C65-9FDD-5DC120353781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5307252" y="2477505"/>
            <a:ext cx="368300" cy="150813"/>
          </a:xfrm>
        </p:spPr>
        <p:txBody>
          <a:bodyPr r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39" name="Szöveg helye 41">
            <a:extLst>
              <a:ext uri="{FF2B5EF4-FFF2-40B4-BE49-F238E27FC236}">
                <a16:creationId xmlns:a16="http://schemas.microsoft.com/office/drawing/2014/main" id="{CDA4CCDD-F979-493E-AE57-BC58CD15104A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6564491" y="2480829"/>
            <a:ext cx="368300" cy="150813"/>
          </a:xfrm>
        </p:spPr>
        <p:txBody>
          <a:bodyPr r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40" name="Szöveg helye 41">
            <a:extLst>
              <a:ext uri="{FF2B5EF4-FFF2-40B4-BE49-F238E27FC236}">
                <a16:creationId xmlns:a16="http://schemas.microsoft.com/office/drawing/2014/main" id="{C0CA61D4-162C-4A5D-BBA7-3DA63E855018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7795537" y="2471629"/>
            <a:ext cx="368300" cy="150813"/>
          </a:xfrm>
        </p:spPr>
        <p:txBody>
          <a:bodyPr r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41" name="Szöveg helye 41">
            <a:extLst>
              <a:ext uri="{FF2B5EF4-FFF2-40B4-BE49-F238E27FC236}">
                <a16:creationId xmlns:a16="http://schemas.microsoft.com/office/drawing/2014/main" id="{2D815493-B217-4880-919A-CB1890DB5425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5345402" y="1257453"/>
            <a:ext cx="368300" cy="150813"/>
          </a:xfrm>
        </p:spPr>
        <p:txBody>
          <a:bodyPr rIns="72000" b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242" name="Szöveg helye 41">
            <a:extLst>
              <a:ext uri="{FF2B5EF4-FFF2-40B4-BE49-F238E27FC236}">
                <a16:creationId xmlns:a16="http://schemas.microsoft.com/office/drawing/2014/main" id="{664BE5C6-BCA6-4F25-9C87-CC7339F0669D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5345402" y="1817127"/>
            <a:ext cx="368300" cy="150813"/>
          </a:xfrm>
        </p:spPr>
        <p:txBody>
          <a:bodyPr rIns="72000" b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  <p:sp>
        <p:nvSpPr>
          <p:cNvPr id="172" name="Cím 1">
            <a:extLst>
              <a:ext uri="{FF2B5EF4-FFF2-40B4-BE49-F238E27FC236}">
                <a16:creationId xmlns:a16="http://schemas.microsoft.com/office/drawing/2014/main" id="{501491CE-4A2E-4208-BEE6-38128C484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Organigram</a:t>
            </a:r>
            <a:r>
              <a:rPr lang="hu-HU" dirty="0"/>
              <a:t> (</a:t>
            </a:r>
            <a:r>
              <a:rPr lang="hu-HU" dirty="0" err="1"/>
              <a:t>inc</a:t>
            </a:r>
            <a:r>
              <a:rPr lang="hu-HU" dirty="0"/>
              <a:t>. FTE)</a:t>
            </a:r>
          </a:p>
        </p:txBody>
      </p:sp>
      <p:sp>
        <p:nvSpPr>
          <p:cNvPr id="171" name="Szöveg helye 5">
            <a:extLst>
              <a:ext uri="{FF2B5EF4-FFF2-40B4-BE49-F238E27FC236}">
                <a16:creationId xmlns:a16="http://schemas.microsoft.com/office/drawing/2014/main" id="{BD7FB025-612E-4C42-B8EE-916239E53A59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3332494" y="2296858"/>
            <a:ext cx="1098300" cy="363200"/>
          </a:xfrm>
          <a:solidFill>
            <a:srgbClr val="5CC1CB"/>
          </a:solidFill>
        </p:spPr>
        <p:txBody>
          <a:bodyPr lIns="72000" tIns="0" bIns="0" anchor="t"/>
          <a:lstStyle>
            <a:lvl1pPr algn="l">
              <a:lnSpc>
                <a:spcPct val="100000"/>
              </a:lnSpc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185" name="Szöveg helye 41">
            <a:extLst>
              <a:ext uri="{FF2B5EF4-FFF2-40B4-BE49-F238E27FC236}">
                <a16:creationId xmlns:a16="http://schemas.microsoft.com/office/drawing/2014/main" id="{A8853F0B-FDF8-4460-8737-51FEBAEBA823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4067375" y="2508355"/>
            <a:ext cx="368300" cy="150813"/>
          </a:xfrm>
        </p:spPr>
        <p:txBody>
          <a:bodyPr rIns="3600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dirty="0"/>
              <a:t>FTE</a:t>
            </a:r>
          </a:p>
        </p:txBody>
      </p:sp>
    </p:spTree>
    <p:extLst>
      <p:ext uri="{BB962C8B-B14F-4D97-AF65-F5344CB8AC3E}">
        <p14:creationId xmlns:p14="http://schemas.microsoft.com/office/powerpoint/2010/main" val="12560694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40901750-A986-494F-95DC-7ACFC0ADC15D}"/>
              </a:ext>
            </a:extLst>
          </p:cNvPr>
          <p:cNvCxnSpPr>
            <a:cxnSpLocks/>
          </p:cNvCxnSpPr>
          <p:nvPr userDrawn="1"/>
        </p:nvCxnSpPr>
        <p:spPr>
          <a:xfrm>
            <a:off x="4563357" y="1254477"/>
            <a:ext cx="0" cy="115911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F8B002F5-CEA8-4CC2-96BF-ADDE39F2434F}"/>
              </a:ext>
            </a:extLst>
          </p:cNvPr>
          <p:cNvCxnSpPr>
            <a:cxnSpLocks/>
          </p:cNvCxnSpPr>
          <p:nvPr userDrawn="1"/>
        </p:nvCxnSpPr>
        <p:spPr>
          <a:xfrm>
            <a:off x="1515140" y="2401582"/>
            <a:ext cx="619878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FC948CF7-FF33-4660-8430-2F8D8894333F}"/>
              </a:ext>
            </a:extLst>
          </p:cNvPr>
          <p:cNvCxnSpPr/>
          <p:nvPr userDrawn="1"/>
        </p:nvCxnSpPr>
        <p:spPr>
          <a:xfrm>
            <a:off x="6453511" y="2401581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5">
            <a:extLst>
              <a:ext uri="{FF2B5EF4-FFF2-40B4-BE49-F238E27FC236}">
                <a16:creationId xmlns:a16="http://schemas.microsoft.com/office/drawing/2014/main" id="{44F283D8-2CB4-415D-8510-5B76A78DC1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77045" y="2561302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Competencies</a:t>
            </a:r>
            <a:r>
              <a:rPr lang="hu-HU" dirty="0"/>
              <a:t> 1</a:t>
            </a:r>
          </a:p>
        </p:txBody>
      </p:sp>
      <p:cxnSp>
        <p:nvCxnSpPr>
          <p:cNvPr id="63" name="Egyenes összekötő 62">
            <a:extLst>
              <a:ext uri="{FF2B5EF4-FFF2-40B4-BE49-F238E27FC236}">
                <a16:creationId xmlns:a16="http://schemas.microsoft.com/office/drawing/2014/main" id="{883D18FC-A4C9-4CAC-A2F7-02E27A7D576F}"/>
              </a:ext>
            </a:extLst>
          </p:cNvPr>
          <p:cNvCxnSpPr/>
          <p:nvPr userDrawn="1"/>
        </p:nvCxnSpPr>
        <p:spPr>
          <a:xfrm>
            <a:off x="4028211" y="2413591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Egyenes összekötő 63">
            <a:extLst>
              <a:ext uri="{FF2B5EF4-FFF2-40B4-BE49-F238E27FC236}">
                <a16:creationId xmlns:a16="http://schemas.microsoft.com/office/drawing/2014/main" id="{13DDE47B-E6BE-4326-A542-AB42B7F5B293}"/>
              </a:ext>
            </a:extLst>
          </p:cNvPr>
          <p:cNvCxnSpPr/>
          <p:nvPr userDrawn="1"/>
        </p:nvCxnSpPr>
        <p:spPr>
          <a:xfrm>
            <a:off x="2813950" y="2404760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zöveg helye 5">
            <a:extLst>
              <a:ext uri="{FF2B5EF4-FFF2-40B4-BE49-F238E27FC236}">
                <a16:creationId xmlns:a16="http://schemas.microsoft.com/office/drawing/2014/main" id="{08950B07-4E39-4BD8-B2DC-08DF25790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1579" y="1797973"/>
            <a:ext cx="1098495" cy="508800"/>
          </a:xfrm>
          <a:solidFill>
            <a:srgbClr val="B00402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Project lead</a:t>
            </a:r>
          </a:p>
        </p:txBody>
      </p:sp>
      <p:cxnSp>
        <p:nvCxnSpPr>
          <p:cNvPr id="5" name="Egyenes összekötő 4">
            <a:extLst>
              <a:ext uri="{FF2B5EF4-FFF2-40B4-BE49-F238E27FC236}">
                <a16:creationId xmlns:a16="http://schemas.microsoft.com/office/drawing/2014/main" id="{38981B53-CD8F-4D59-A056-3BC226C150C4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977045" y="2742902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>
            <a:extLst>
              <a:ext uri="{FF2B5EF4-FFF2-40B4-BE49-F238E27FC236}">
                <a16:creationId xmlns:a16="http://schemas.microsoft.com/office/drawing/2014/main" id="{2A43DF40-2125-4590-A6BE-2AABBDCC18BB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977045" y="2742902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8C4FB2F7-0D88-4A7D-9989-662C07DDD3B8}"/>
              </a:ext>
            </a:extLst>
          </p:cNvPr>
          <p:cNvCxnSpPr>
            <a:cxnSpLocks/>
            <a:stCxn id="38" idx="1"/>
            <a:endCxn id="38" idx="1"/>
          </p:cNvCxnSpPr>
          <p:nvPr userDrawn="1"/>
        </p:nvCxnSpPr>
        <p:spPr>
          <a:xfrm>
            <a:off x="977045" y="2742902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zöveg helye 5">
            <a:extLst>
              <a:ext uri="{FF2B5EF4-FFF2-40B4-BE49-F238E27FC236}">
                <a16:creationId xmlns:a16="http://schemas.microsoft.com/office/drawing/2014/main" id="{51ACF69A-F088-41DC-A429-691A6BA4B7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1579" y="1243259"/>
            <a:ext cx="2611437" cy="446986"/>
          </a:xfrm>
          <a:solidFill>
            <a:srgbClr val="EA1C0A"/>
          </a:solidFill>
        </p:spPr>
        <p:txBody>
          <a:bodyPr lIns="72000" tIns="72000" bIns="72000" anchor="ctr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Steering</a:t>
            </a:r>
            <a:r>
              <a:rPr lang="hu-HU" dirty="0"/>
              <a:t> </a:t>
            </a:r>
            <a:r>
              <a:rPr lang="hu-HU" dirty="0" err="1"/>
              <a:t>Commitee</a:t>
            </a:r>
            <a:endParaRPr lang="hu-HU" dirty="0"/>
          </a:p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dolor</a:t>
            </a:r>
            <a:endParaRPr lang="hu-HU" dirty="0"/>
          </a:p>
          <a:p>
            <a:pPr lvl="0"/>
            <a:endParaRPr lang="hu-HU" dirty="0"/>
          </a:p>
        </p:txBody>
      </p:sp>
      <p:sp>
        <p:nvSpPr>
          <p:cNvPr id="54" name="Szöveg helye 5">
            <a:extLst>
              <a:ext uri="{FF2B5EF4-FFF2-40B4-BE49-F238E27FC236}">
                <a16:creationId xmlns:a16="http://schemas.microsoft.com/office/drawing/2014/main" id="{0D5D9F03-9F3B-4CED-8298-B0BF62BC04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796641" y="1793163"/>
            <a:ext cx="1046375" cy="513609"/>
          </a:xfrm>
          <a:solidFill>
            <a:srgbClr val="B00402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Project lead</a:t>
            </a:r>
          </a:p>
        </p:txBody>
      </p:sp>
      <p:cxnSp>
        <p:nvCxnSpPr>
          <p:cNvPr id="9" name="Egyenes összekötő 8">
            <a:extLst>
              <a:ext uri="{FF2B5EF4-FFF2-40B4-BE49-F238E27FC236}">
                <a16:creationId xmlns:a16="http://schemas.microsoft.com/office/drawing/2014/main" id="{F23DAA20-057C-4D53-A520-C8F1A5BC50F2}"/>
              </a:ext>
            </a:extLst>
          </p:cNvPr>
          <p:cNvCxnSpPr>
            <a:cxnSpLocks/>
            <a:stCxn id="13" idx="3"/>
            <a:endCxn id="54" idx="1"/>
          </p:cNvCxnSpPr>
          <p:nvPr userDrawn="1"/>
        </p:nvCxnSpPr>
        <p:spPr>
          <a:xfrm flipV="1">
            <a:off x="4330074" y="2049968"/>
            <a:ext cx="466567" cy="24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Egyenes összekötő 64">
            <a:extLst>
              <a:ext uri="{FF2B5EF4-FFF2-40B4-BE49-F238E27FC236}">
                <a16:creationId xmlns:a16="http://schemas.microsoft.com/office/drawing/2014/main" id="{141E3501-1D6A-47BA-857D-E2BB37A7E832}"/>
              </a:ext>
            </a:extLst>
          </p:cNvPr>
          <p:cNvCxnSpPr/>
          <p:nvPr userDrawn="1"/>
        </p:nvCxnSpPr>
        <p:spPr>
          <a:xfrm>
            <a:off x="7714633" y="2401582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Egyenes összekötő 66">
            <a:extLst>
              <a:ext uri="{FF2B5EF4-FFF2-40B4-BE49-F238E27FC236}">
                <a16:creationId xmlns:a16="http://schemas.microsoft.com/office/drawing/2014/main" id="{0B0F9DCF-A180-4AF6-9F85-1E8916D0C174}"/>
              </a:ext>
            </a:extLst>
          </p:cNvPr>
          <p:cNvCxnSpPr/>
          <p:nvPr userDrawn="1"/>
        </p:nvCxnSpPr>
        <p:spPr>
          <a:xfrm>
            <a:off x="1515140" y="2401582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Szöveg helye 5">
            <a:extLst>
              <a:ext uri="{FF2B5EF4-FFF2-40B4-BE49-F238E27FC236}">
                <a16:creationId xmlns:a16="http://schemas.microsoft.com/office/drawing/2014/main" id="{2AFCD45B-AB71-4989-A1EE-58C52AB990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218531" y="2558933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lnSpc>
                <a:spcPct val="100000"/>
              </a:lnSpc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endParaRPr lang="hu-HU" dirty="0"/>
          </a:p>
        </p:txBody>
      </p:sp>
      <p:sp>
        <p:nvSpPr>
          <p:cNvPr id="80" name="Szöveg helye 5">
            <a:extLst>
              <a:ext uri="{FF2B5EF4-FFF2-40B4-BE49-F238E27FC236}">
                <a16:creationId xmlns:a16="http://schemas.microsoft.com/office/drawing/2014/main" id="{1F49AD0F-BD8C-412D-9D7B-F5F9F49A67D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65057" y="2561004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</a:t>
            </a:r>
          </a:p>
        </p:txBody>
      </p:sp>
      <p:sp>
        <p:nvSpPr>
          <p:cNvPr id="81" name="Szöveg helye 5">
            <a:extLst>
              <a:ext uri="{FF2B5EF4-FFF2-40B4-BE49-F238E27FC236}">
                <a16:creationId xmlns:a16="http://schemas.microsoft.com/office/drawing/2014/main" id="{3FC5DA39-1342-460E-9D15-64BEDB81A33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712614" y="2561302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ex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82" name="Szöveg helye 5">
            <a:extLst>
              <a:ext uri="{FF2B5EF4-FFF2-40B4-BE49-F238E27FC236}">
                <a16:creationId xmlns:a16="http://schemas.microsoft.com/office/drawing/2014/main" id="{5914958F-3008-471F-A929-DC36B45E0CE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960171" y="2558933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83" name="Szöveg helye 5">
            <a:extLst>
              <a:ext uri="{FF2B5EF4-FFF2-40B4-BE49-F238E27FC236}">
                <a16:creationId xmlns:a16="http://schemas.microsoft.com/office/drawing/2014/main" id="{18C4E654-4C7E-4E1E-8C31-95ABE39CD80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201657" y="2565496"/>
            <a:ext cx="1098300" cy="363200"/>
          </a:xfrm>
          <a:solidFill>
            <a:srgbClr val="5CC1CB"/>
          </a:solidFill>
        </p:spPr>
        <p:txBody>
          <a:bodyPr lIns="72000" tIns="72000" bIns="72000" anchor="ctr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orem</a:t>
            </a:r>
            <a:endParaRPr lang="hu-HU" dirty="0"/>
          </a:p>
        </p:txBody>
      </p:sp>
      <p:cxnSp>
        <p:nvCxnSpPr>
          <p:cNvPr id="86" name="Egyenes összekötő 85">
            <a:extLst>
              <a:ext uri="{FF2B5EF4-FFF2-40B4-BE49-F238E27FC236}">
                <a16:creationId xmlns:a16="http://schemas.microsoft.com/office/drawing/2014/main" id="{8FA87A9D-E595-4BC0-88B1-690727FACBDD}"/>
              </a:ext>
            </a:extLst>
          </p:cNvPr>
          <p:cNvCxnSpPr/>
          <p:nvPr userDrawn="1"/>
        </p:nvCxnSpPr>
        <p:spPr>
          <a:xfrm>
            <a:off x="5261764" y="2404760"/>
            <a:ext cx="0" cy="154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Egyenes összekötő 44">
            <a:extLst>
              <a:ext uri="{FF2B5EF4-FFF2-40B4-BE49-F238E27FC236}">
                <a16:creationId xmlns:a16="http://schemas.microsoft.com/office/drawing/2014/main" id="{B3FDC04E-6833-4D0D-A3EE-95E3596E65BC}"/>
              </a:ext>
            </a:extLst>
          </p:cNvPr>
          <p:cNvCxnSpPr>
            <a:cxnSpLocks/>
          </p:cNvCxnSpPr>
          <p:nvPr userDrawn="1"/>
        </p:nvCxnSpPr>
        <p:spPr>
          <a:xfrm>
            <a:off x="919316" y="2751789"/>
            <a:ext cx="0" cy="198873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Egyenes összekötő 135">
            <a:extLst>
              <a:ext uri="{FF2B5EF4-FFF2-40B4-BE49-F238E27FC236}">
                <a16:creationId xmlns:a16="http://schemas.microsoft.com/office/drawing/2014/main" id="{91B07D81-CF5B-41FD-8315-ED27F10A291F}"/>
              </a:ext>
            </a:extLst>
          </p:cNvPr>
          <p:cNvCxnSpPr>
            <a:cxnSpLocks/>
          </p:cNvCxnSpPr>
          <p:nvPr userDrawn="1"/>
        </p:nvCxnSpPr>
        <p:spPr>
          <a:xfrm flipH="1">
            <a:off x="2158549" y="2751789"/>
            <a:ext cx="4548" cy="193397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Egyenes összekötő 137">
            <a:extLst>
              <a:ext uri="{FF2B5EF4-FFF2-40B4-BE49-F238E27FC236}">
                <a16:creationId xmlns:a16="http://schemas.microsoft.com/office/drawing/2014/main" id="{59AAA213-9687-48BC-A50F-8867649FBFD0}"/>
              </a:ext>
            </a:extLst>
          </p:cNvPr>
          <p:cNvCxnSpPr>
            <a:cxnSpLocks/>
          </p:cNvCxnSpPr>
          <p:nvPr userDrawn="1"/>
        </p:nvCxnSpPr>
        <p:spPr>
          <a:xfrm>
            <a:off x="3399775" y="2751789"/>
            <a:ext cx="0" cy="194918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Egyenes összekötő 140">
            <a:extLst>
              <a:ext uri="{FF2B5EF4-FFF2-40B4-BE49-F238E27FC236}">
                <a16:creationId xmlns:a16="http://schemas.microsoft.com/office/drawing/2014/main" id="{514BAB75-F578-473C-AED1-F3674022ADFD}"/>
              </a:ext>
            </a:extLst>
          </p:cNvPr>
          <p:cNvCxnSpPr>
            <a:cxnSpLocks/>
          </p:cNvCxnSpPr>
          <p:nvPr userDrawn="1"/>
        </p:nvCxnSpPr>
        <p:spPr>
          <a:xfrm flipH="1">
            <a:off x="4639972" y="2742902"/>
            <a:ext cx="6237" cy="199761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Egyenes összekötő 141">
            <a:extLst>
              <a:ext uri="{FF2B5EF4-FFF2-40B4-BE49-F238E27FC236}">
                <a16:creationId xmlns:a16="http://schemas.microsoft.com/office/drawing/2014/main" id="{1981F3BA-4A25-4E7E-A73A-40F69C6FDDF5}"/>
              </a:ext>
            </a:extLst>
          </p:cNvPr>
          <p:cNvCxnSpPr>
            <a:cxnSpLocks/>
          </p:cNvCxnSpPr>
          <p:nvPr userDrawn="1"/>
        </p:nvCxnSpPr>
        <p:spPr>
          <a:xfrm>
            <a:off x="5893029" y="2745592"/>
            <a:ext cx="0" cy="19401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Egyenes összekötő 142">
            <a:extLst>
              <a:ext uri="{FF2B5EF4-FFF2-40B4-BE49-F238E27FC236}">
                <a16:creationId xmlns:a16="http://schemas.microsoft.com/office/drawing/2014/main" id="{1BFC9635-4529-41D8-9779-B1E7D519F4E6}"/>
              </a:ext>
            </a:extLst>
          </p:cNvPr>
          <p:cNvCxnSpPr>
            <a:cxnSpLocks/>
          </p:cNvCxnSpPr>
          <p:nvPr userDrawn="1"/>
        </p:nvCxnSpPr>
        <p:spPr>
          <a:xfrm>
            <a:off x="7141610" y="2742902"/>
            <a:ext cx="0" cy="19744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Egyenes összekötő 50">
            <a:extLst>
              <a:ext uri="{FF2B5EF4-FFF2-40B4-BE49-F238E27FC236}">
                <a16:creationId xmlns:a16="http://schemas.microsoft.com/office/drawing/2014/main" id="{232428AB-ACA7-4DCE-BE4F-7455ACBCA358}"/>
              </a:ext>
            </a:extLst>
          </p:cNvPr>
          <p:cNvCxnSpPr>
            <a:cxnSpLocks/>
          </p:cNvCxnSpPr>
          <p:nvPr userDrawn="1"/>
        </p:nvCxnSpPr>
        <p:spPr>
          <a:xfrm flipH="1">
            <a:off x="914016" y="2745552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Egyenes összekötő 59">
            <a:extLst>
              <a:ext uri="{FF2B5EF4-FFF2-40B4-BE49-F238E27FC236}">
                <a16:creationId xmlns:a16="http://schemas.microsoft.com/office/drawing/2014/main" id="{E81C2BB5-3912-486B-89CB-2B1F87AEC8DE}"/>
              </a:ext>
            </a:extLst>
          </p:cNvPr>
          <p:cNvCxnSpPr>
            <a:cxnSpLocks/>
          </p:cNvCxnSpPr>
          <p:nvPr userDrawn="1"/>
        </p:nvCxnSpPr>
        <p:spPr>
          <a:xfrm flipH="1">
            <a:off x="924552" y="3217415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Egyenes összekötő 70">
            <a:extLst>
              <a:ext uri="{FF2B5EF4-FFF2-40B4-BE49-F238E27FC236}">
                <a16:creationId xmlns:a16="http://schemas.microsoft.com/office/drawing/2014/main" id="{B8438681-44E5-442A-86AB-9340920D3D0D}"/>
              </a:ext>
            </a:extLst>
          </p:cNvPr>
          <p:cNvCxnSpPr>
            <a:cxnSpLocks/>
          </p:cNvCxnSpPr>
          <p:nvPr userDrawn="1"/>
        </p:nvCxnSpPr>
        <p:spPr>
          <a:xfrm flipH="1">
            <a:off x="916999" y="3698969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Egyenes összekötő 143">
            <a:extLst>
              <a:ext uri="{FF2B5EF4-FFF2-40B4-BE49-F238E27FC236}">
                <a16:creationId xmlns:a16="http://schemas.microsoft.com/office/drawing/2014/main" id="{27DC6EB6-913E-4EEB-8437-AC35683EFA0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1763" y="42258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Egyenes összekötő 144">
            <a:extLst>
              <a:ext uri="{FF2B5EF4-FFF2-40B4-BE49-F238E27FC236}">
                <a16:creationId xmlns:a16="http://schemas.microsoft.com/office/drawing/2014/main" id="{B19C9888-65DB-49A1-A8ED-F029369D937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1763" y="474052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Egyenes összekötő 145">
            <a:extLst>
              <a:ext uri="{FF2B5EF4-FFF2-40B4-BE49-F238E27FC236}">
                <a16:creationId xmlns:a16="http://schemas.microsoft.com/office/drawing/2014/main" id="{06E89C37-80F7-40AC-81B8-4FC5DA5DD1B8}"/>
              </a:ext>
            </a:extLst>
          </p:cNvPr>
          <p:cNvCxnSpPr>
            <a:cxnSpLocks/>
          </p:cNvCxnSpPr>
          <p:nvPr userDrawn="1"/>
        </p:nvCxnSpPr>
        <p:spPr>
          <a:xfrm flipH="1">
            <a:off x="2163097" y="325820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Egyenes összekötő 146">
            <a:extLst>
              <a:ext uri="{FF2B5EF4-FFF2-40B4-BE49-F238E27FC236}">
                <a16:creationId xmlns:a16="http://schemas.microsoft.com/office/drawing/2014/main" id="{CF80155F-E706-43DF-9AC7-D48E6D242053}"/>
              </a:ext>
            </a:extLst>
          </p:cNvPr>
          <p:cNvCxnSpPr>
            <a:cxnSpLocks/>
          </p:cNvCxnSpPr>
          <p:nvPr userDrawn="1"/>
        </p:nvCxnSpPr>
        <p:spPr>
          <a:xfrm flipH="1">
            <a:off x="2153249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Egyenes összekötő 147">
            <a:extLst>
              <a:ext uri="{FF2B5EF4-FFF2-40B4-BE49-F238E27FC236}">
                <a16:creationId xmlns:a16="http://schemas.microsoft.com/office/drawing/2014/main" id="{C74D0AE4-A642-47C7-A74B-E772F00D8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2163097" y="42258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Egyenes összekötő 148">
            <a:extLst>
              <a:ext uri="{FF2B5EF4-FFF2-40B4-BE49-F238E27FC236}">
                <a16:creationId xmlns:a16="http://schemas.microsoft.com/office/drawing/2014/main" id="{3D04D45A-C8DF-48CC-96BB-A6953378B47F}"/>
              </a:ext>
            </a:extLst>
          </p:cNvPr>
          <p:cNvCxnSpPr>
            <a:cxnSpLocks/>
          </p:cNvCxnSpPr>
          <p:nvPr userDrawn="1"/>
        </p:nvCxnSpPr>
        <p:spPr>
          <a:xfrm flipH="1">
            <a:off x="2163097" y="468576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Egyenes összekötő 149">
            <a:extLst>
              <a:ext uri="{FF2B5EF4-FFF2-40B4-BE49-F238E27FC236}">
                <a16:creationId xmlns:a16="http://schemas.microsoft.com/office/drawing/2014/main" id="{0475DF98-3057-4CDB-87F4-4AEEBB0749C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14432" y="3760109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Egyenes összekötő 150">
            <a:extLst>
              <a:ext uri="{FF2B5EF4-FFF2-40B4-BE49-F238E27FC236}">
                <a16:creationId xmlns:a16="http://schemas.microsoft.com/office/drawing/2014/main" id="{3B0B02E7-B18D-4D83-9F61-A14240EA115A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325872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Egyenes összekötő 151">
            <a:extLst>
              <a:ext uri="{FF2B5EF4-FFF2-40B4-BE49-F238E27FC236}">
                <a16:creationId xmlns:a16="http://schemas.microsoft.com/office/drawing/2014/main" id="{8C520A2E-6BF5-49BE-B486-D7D77E0B21AB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4225828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Egyenes összekötő 152">
            <a:extLst>
              <a:ext uri="{FF2B5EF4-FFF2-40B4-BE49-F238E27FC236}">
                <a16:creationId xmlns:a16="http://schemas.microsoft.com/office/drawing/2014/main" id="{E69267CE-C258-4596-8801-9A683F49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4700974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Egyenes összekötő 153">
            <a:extLst>
              <a:ext uri="{FF2B5EF4-FFF2-40B4-BE49-F238E27FC236}">
                <a16:creationId xmlns:a16="http://schemas.microsoft.com/office/drawing/2014/main" id="{56FD985F-7703-4090-B050-15CFE1B40647}"/>
              </a:ext>
            </a:extLst>
          </p:cNvPr>
          <p:cNvCxnSpPr>
            <a:cxnSpLocks/>
          </p:cNvCxnSpPr>
          <p:nvPr userDrawn="1"/>
        </p:nvCxnSpPr>
        <p:spPr>
          <a:xfrm flipH="1">
            <a:off x="4646301" y="3262983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Egyenes összekötő 154">
            <a:extLst>
              <a:ext uri="{FF2B5EF4-FFF2-40B4-BE49-F238E27FC236}">
                <a16:creationId xmlns:a16="http://schemas.microsoft.com/office/drawing/2014/main" id="{1206D2B7-212E-4FD5-9C49-3A810AB8AB43}"/>
              </a:ext>
            </a:extLst>
          </p:cNvPr>
          <p:cNvCxnSpPr>
            <a:cxnSpLocks/>
          </p:cNvCxnSpPr>
          <p:nvPr userDrawn="1"/>
        </p:nvCxnSpPr>
        <p:spPr>
          <a:xfrm flipH="1">
            <a:off x="4646209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Egyenes összekötő 155">
            <a:extLst>
              <a:ext uri="{FF2B5EF4-FFF2-40B4-BE49-F238E27FC236}">
                <a16:creationId xmlns:a16="http://schemas.microsoft.com/office/drawing/2014/main" id="{2BA6A8BA-55A5-49EF-BFD2-93FDF37866E9}"/>
              </a:ext>
            </a:extLst>
          </p:cNvPr>
          <p:cNvCxnSpPr>
            <a:cxnSpLocks/>
          </p:cNvCxnSpPr>
          <p:nvPr userDrawn="1"/>
        </p:nvCxnSpPr>
        <p:spPr>
          <a:xfrm flipH="1">
            <a:off x="4658908" y="424103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Egyenes összekötő 156">
            <a:extLst>
              <a:ext uri="{FF2B5EF4-FFF2-40B4-BE49-F238E27FC236}">
                <a16:creationId xmlns:a16="http://schemas.microsoft.com/office/drawing/2014/main" id="{EFCD5429-FB7B-40BA-975D-B78E12956419}"/>
              </a:ext>
            </a:extLst>
          </p:cNvPr>
          <p:cNvCxnSpPr>
            <a:cxnSpLocks/>
          </p:cNvCxnSpPr>
          <p:nvPr userDrawn="1"/>
        </p:nvCxnSpPr>
        <p:spPr>
          <a:xfrm flipH="1">
            <a:off x="4646209" y="4740520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Egyenes összekötő 157">
            <a:extLst>
              <a:ext uri="{FF2B5EF4-FFF2-40B4-BE49-F238E27FC236}">
                <a16:creationId xmlns:a16="http://schemas.microsoft.com/office/drawing/2014/main" id="{277621DF-65DE-4B13-9CE8-5EC1AC809424}"/>
              </a:ext>
            </a:extLst>
          </p:cNvPr>
          <p:cNvCxnSpPr>
            <a:cxnSpLocks/>
          </p:cNvCxnSpPr>
          <p:nvPr userDrawn="1"/>
        </p:nvCxnSpPr>
        <p:spPr>
          <a:xfrm flipH="1">
            <a:off x="5886000" y="3271112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Egyenes összekötő 158">
            <a:extLst>
              <a:ext uri="{FF2B5EF4-FFF2-40B4-BE49-F238E27FC236}">
                <a16:creationId xmlns:a16="http://schemas.microsoft.com/office/drawing/2014/main" id="{FA28771D-AA4C-443C-8E63-34F2AD3B56BB}"/>
              </a:ext>
            </a:extLst>
          </p:cNvPr>
          <p:cNvCxnSpPr>
            <a:cxnSpLocks/>
          </p:cNvCxnSpPr>
          <p:nvPr userDrawn="1"/>
        </p:nvCxnSpPr>
        <p:spPr>
          <a:xfrm flipH="1">
            <a:off x="5892827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Egyenes összekötő 159">
            <a:extLst>
              <a:ext uri="{FF2B5EF4-FFF2-40B4-BE49-F238E27FC236}">
                <a16:creationId xmlns:a16="http://schemas.microsoft.com/office/drawing/2014/main" id="{1DDC74C9-AE27-4A83-AABB-3DDB837D509C}"/>
              </a:ext>
            </a:extLst>
          </p:cNvPr>
          <p:cNvCxnSpPr>
            <a:cxnSpLocks/>
          </p:cNvCxnSpPr>
          <p:nvPr userDrawn="1"/>
        </p:nvCxnSpPr>
        <p:spPr>
          <a:xfrm flipH="1">
            <a:off x="5893029" y="422886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Egyenes összekötő 160">
            <a:extLst>
              <a:ext uri="{FF2B5EF4-FFF2-40B4-BE49-F238E27FC236}">
                <a16:creationId xmlns:a16="http://schemas.microsoft.com/office/drawing/2014/main" id="{FB789C3C-EBD5-44B4-8D1C-814DAFF49CA1}"/>
              </a:ext>
            </a:extLst>
          </p:cNvPr>
          <p:cNvCxnSpPr>
            <a:cxnSpLocks/>
          </p:cNvCxnSpPr>
          <p:nvPr userDrawn="1"/>
        </p:nvCxnSpPr>
        <p:spPr>
          <a:xfrm flipH="1">
            <a:off x="5892827" y="468576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Egyenes összekötő 161">
            <a:extLst>
              <a:ext uri="{FF2B5EF4-FFF2-40B4-BE49-F238E27FC236}">
                <a16:creationId xmlns:a16="http://schemas.microsoft.com/office/drawing/2014/main" id="{FB2C4F55-7E8C-4548-9A48-25A7FE610A8E}"/>
              </a:ext>
            </a:extLst>
          </p:cNvPr>
          <p:cNvCxnSpPr>
            <a:cxnSpLocks/>
          </p:cNvCxnSpPr>
          <p:nvPr userDrawn="1"/>
        </p:nvCxnSpPr>
        <p:spPr>
          <a:xfrm flipH="1">
            <a:off x="7141610" y="3271112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Egyenes összekötő 162">
            <a:extLst>
              <a:ext uri="{FF2B5EF4-FFF2-40B4-BE49-F238E27FC236}">
                <a16:creationId xmlns:a16="http://schemas.microsoft.com/office/drawing/2014/main" id="{1CF77D93-3F02-46F1-B47C-91442932693D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375" y="3744901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Egyenes összekötő 163">
            <a:extLst>
              <a:ext uri="{FF2B5EF4-FFF2-40B4-BE49-F238E27FC236}">
                <a16:creationId xmlns:a16="http://schemas.microsoft.com/office/drawing/2014/main" id="{D1634D8D-BEEA-47CD-B293-B2C72E4A9D6D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375" y="4241036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Egyenes összekötő 164">
            <a:extLst>
              <a:ext uri="{FF2B5EF4-FFF2-40B4-BE49-F238E27FC236}">
                <a16:creationId xmlns:a16="http://schemas.microsoft.com/office/drawing/2014/main" id="{61C7001A-6E3B-4491-8B80-E42B0BA013EA}"/>
              </a:ext>
            </a:extLst>
          </p:cNvPr>
          <p:cNvCxnSpPr>
            <a:cxnSpLocks/>
          </p:cNvCxnSpPr>
          <p:nvPr userDrawn="1"/>
        </p:nvCxnSpPr>
        <p:spPr>
          <a:xfrm flipH="1">
            <a:off x="7141610" y="4717399"/>
            <a:ext cx="2137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Egyenes összekötő 165">
            <a:extLst>
              <a:ext uri="{FF2B5EF4-FFF2-40B4-BE49-F238E27FC236}">
                <a16:creationId xmlns:a16="http://schemas.microsoft.com/office/drawing/2014/main" id="{B58A7CCF-34C1-481A-B4A3-B055D1F25BFF}"/>
              </a:ext>
            </a:extLst>
          </p:cNvPr>
          <p:cNvCxnSpPr>
            <a:cxnSpLocks/>
          </p:cNvCxnSpPr>
          <p:nvPr userDrawn="1"/>
        </p:nvCxnSpPr>
        <p:spPr>
          <a:xfrm flipH="1">
            <a:off x="2158549" y="2755508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Egyenes összekötő 166">
            <a:extLst>
              <a:ext uri="{FF2B5EF4-FFF2-40B4-BE49-F238E27FC236}">
                <a16:creationId xmlns:a16="http://schemas.microsoft.com/office/drawing/2014/main" id="{AB00E522-F35F-4101-B534-A4D1259D5C82}"/>
              </a:ext>
            </a:extLst>
          </p:cNvPr>
          <p:cNvCxnSpPr>
            <a:cxnSpLocks/>
          </p:cNvCxnSpPr>
          <p:nvPr userDrawn="1"/>
        </p:nvCxnSpPr>
        <p:spPr>
          <a:xfrm flipH="1">
            <a:off x="3399775" y="2753121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Egyenes összekötő 167">
            <a:extLst>
              <a:ext uri="{FF2B5EF4-FFF2-40B4-BE49-F238E27FC236}">
                <a16:creationId xmlns:a16="http://schemas.microsoft.com/office/drawing/2014/main" id="{5C87315E-E560-4256-AFE0-D54CE149B16B}"/>
              </a:ext>
            </a:extLst>
          </p:cNvPr>
          <p:cNvCxnSpPr>
            <a:cxnSpLocks/>
          </p:cNvCxnSpPr>
          <p:nvPr userDrawn="1"/>
        </p:nvCxnSpPr>
        <p:spPr>
          <a:xfrm flipH="1">
            <a:off x="4639972" y="2742902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Egyenes összekötő 168">
            <a:extLst>
              <a:ext uri="{FF2B5EF4-FFF2-40B4-BE49-F238E27FC236}">
                <a16:creationId xmlns:a16="http://schemas.microsoft.com/office/drawing/2014/main" id="{081474A9-A18C-451B-8D4D-E16B954DDB50}"/>
              </a:ext>
            </a:extLst>
          </p:cNvPr>
          <p:cNvCxnSpPr>
            <a:cxnSpLocks/>
          </p:cNvCxnSpPr>
          <p:nvPr userDrawn="1"/>
        </p:nvCxnSpPr>
        <p:spPr>
          <a:xfrm flipH="1">
            <a:off x="5889672" y="2750595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Egyenes összekötő 169">
            <a:extLst>
              <a:ext uri="{FF2B5EF4-FFF2-40B4-BE49-F238E27FC236}">
                <a16:creationId xmlns:a16="http://schemas.microsoft.com/office/drawing/2014/main" id="{4258ADDD-0F9D-4F19-9AEF-D835BEEED548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375" y="2740533"/>
            <a:ext cx="577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Szöveg helye 3">
            <a:extLst>
              <a:ext uri="{FF2B5EF4-FFF2-40B4-BE49-F238E27FC236}">
                <a16:creationId xmlns:a16="http://schemas.microsoft.com/office/drawing/2014/main" id="{9DBEC486-CD67-423E-AAF4-47AB8A0CDA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125513" y="300974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4" name="Szöveg helye 3">
            <a:extLst>
              <a:ext uri="{FF2B5EF4-FFF2-40B4-BE49-F238E27FC236}">
                <a16:creationId xmlns:a16="http://schemas.microsoft.com/office/drawing/2014/main" id="{F34CF00C-C334-44AD-86F3-952BB8C69D8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124183" y="3504395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7" name="Szöveg helye 3">
            <a:extLst>
              <a:ext uri="{FF2B5EF4-FFF2-40B4-BE49-F238E27FC236}">
                <a16:creationId xmlns:a16="http://schemas.microsoft.com/office/drawing/2014/main" id="{C33F74EA-40A4-4F78-8981-E70E5B1E6FD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123516" y="398942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08" name="Szöveg helye 3">
            <a:extLst>
              <a:ext uri="{FF2B5EF4-FFF2-40B4-BE49-F238E27FC236}">
                <a16:creationId xmlns:a16="http://schemas.microsoft.com/office/drawing/2014/main" id="{3B4DE2AF-63AC-4678-9275-77996286FF6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125513" y="44744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2" name="Szöveg helye 3">
            <a:extLst>
              <a:ext uri="{FF2B5EF4-FFF2-40B4-BE49-F238E27FC236}">
                <a16:creationId xmlns:a16="http://schemas.microsoft.com/office/drawing/2014/main" id="{93377162-4EFC-4F33-839E-5C51491048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374790" y="3008803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3" name="Szöveg helye 3">
            <a:extLst>
              <a:ext uri="{FF2B5EF4-FFF2-40B4-BE49-F238E27FC236}">
                <a16:creationId xmlns:a16="http://schemas.microsoft.com/office/drawing/2014/main" id="{336F4932-271C-473F-B23A-35959DCE5CD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374028" y="3496444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7" name="Szöveg helye 3">
            <a:extLst>
              <a:ext uri="{FF2B5EF4-FFF2-40B4-BE49-F238E27FC236}">
                <a16:creationId xmlns:a16="http://schemas.microsoft.com/office/drawing/2014/main" id="{548EB7A9-603D-4B0C-A2F8-ED078360A62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376847" y="3983121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18" name="Szöveg helye 3">
            <a:extLst>
              <a:ext uri="{FF2B5EF4-FFF2-40B4-BE49-F238E27FC236}">
                <a16:creationId xmlns:a16="http://schemas.microsoft.com/office/drawing/2014/main" id="{095780B1-2800-43F5-9871-E2B8E840023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366999" y="4460005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0" name="Szöveg helye 3">
            <a:extLst>
              <a:ext uri="{FF2B5EF4-FFF2-40B4-BE49-F238E27FC236}">
                <a16:creationId xmlns:a16="http://schemas.microsoft.com/office/drawing/2014/main" id="{28321B1D-35C2-4ECE-A4EB-62110862B3E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621610" y="3014174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1" name="Szöveg helye 3">
            <a:extLst>
              <a:ext uri="{FF2B5EF4-FFF2-40B4-BE49-F238E27FC236}">
                <a16:creationId xmlns:a16="http://schemas.microsoft.com/office/drawing/2014/main" id="{807671B5-E90F-4FD7-AE7F-FFDD4E946C4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620848" y="3511109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2" name="Szöveg helye 3">
            <a:extLst>
              <a:ext uri="{FF2B5EF4-FFF2-40B4-BE49-F238E27FC236}">
                <a16:creationId xmlns:a16="http://schemas.microsoft.com/office/drawing/2014/main" id="{91A831FE-0B1C-423D-A0BC-1DFFEEC32DD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621016" y="398555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3" name="Szöveg helye 3">
            <a:extLst>
              <a:ext uri="{FF2B5EF4-FFF2-40B4-BE49-F238E27FC236}">
                <a16:creationId xmlns:a16="http://schemas.microsoft.com/office/drawing/2014/main" id="{F2D8D697-9633-4BE1-8DB5-6930E4A31F2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3621610" y="4469354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4" name="Szöveg helye 3">
            <a:extLst>
              <a:ext uri="{FF2B5EF4-FFF2-40B4-BE49-F238E27FC236}">
                <a16:creationId xmlns:a16="http://schemas.microsoft.com/office/drawing/2014/main" id="{4F01D6D9-9716-46FE-A3D2-6D8B6D8FABD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862781" y="300974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5" name="Szöveg helye 3">
            <a:extLst>
              <a:ext uri="{FF2B5EF4-FFF2-40B4-BE49-F238E27FC236}">
                <a16:creationId xmlns:a16="http://schemas.microsoft.com/office/drawing/2014/main" id="{05E8A4F4-AE86-4A39-A250-3AC073B5BB5C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859959" y="3496444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6" name="Szöveg helye 3">
            <a:extLst>
              <a:ext uri="{FF2B5EF4-FFF2-40B4-BE49-F238E27FC236}">
                <a16:creationId xmlns:a16="http://schemas.microsoft.com/office/drawing/2014/main" id="{4D0A95B5-39BB-4087-8088-928A839982C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857996" y="397826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7" name="Szöveg helye 3">
            <a:extLst>
              <a:ext uri="{FF2B5EF4-FFF2-40B4-BE49-F238E27FC236}">
                <a16:creationId xmlns:a16="http://schemas.microsoft.com/office/drawing/2014/main" id="{69D857C3-F106-4E84-95BE-519F32FF3C3C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860051" y="4460005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8" name="Szöveg helye 3">
            <a:extLst>
              <a:ext uri="{FF2B5EF4-FFF2-40B4-BE49-F238E27FC236}">
                <a16:creationId xmlns:a16="http://schemas.microsoft.com/office/drawing/2014/main" id="{21C49626-E064-436B-9FF5-E47F118332E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099642" y="3014173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29" name="Szöveg helye 3">
            <a:extLst>
              <a:ext uri="{FF2B5EF4-FFF2-40B4-BE49-F238E27FC236}">
                <a16:creationId xmlns:a16="http://schemas.microsoft.com/office/drawing/2014/main" id="{2C8E3CDE-431C-41CE-AB7E-6DDB5AACC9A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099642" y="349964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0" name="Szöveg helye 3">
            <a:extLst>
              <a:ext uri="{FF2B5EF4-FFF2-40B4-BE49-F238E27FC236}">
                <a16:creationId xmlns:a16="http://schemas.microsoft.com/office/drawing/2014/main" id="{1B111A33-E1BF-4FBB-9648-70918B3FD20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106577" y="3978268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1" name="Szöveg helye 3">
            <a:extLst>
              <a:ext uri="{FF2B5EF4-FFF2-40B4-BE49-F238E27FC236}">
                <a16:creationId xmlns:a16="http://schemas.microsoft.com/office/drawing/2014/main" id="{858F8DC0-C716-4FAA-A6F5-2F1601CA989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06577" y="4460005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2" name="Szöveg helye 3">
            <a:extLst>
              <a:ext uri="{FF2B5EF4-FFF2-40B4-BE49-F238E27FC236}">
                <a16:creationId xmlns:a16="http://schemas.microsoft.com/office/drawing/2014/main" id="{1618596E-8286-4D9A-8517-5D9C033311B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355360" y="3010269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3" name="Szöveg helye 3">
            <a:extLst>
              <a:ext uri="{FF2B5EF4-FFF2-40B4-BE49-F238E27FC236}">
                <a16:creationId xmlns:a16="http://schemas.microsoft.com/office/drawing/2014/main" id="{6ADA2306-D113-4EAD-978F-13892D1C23C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348222" y="3483793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4" name="Szöveg helye 3">
            <a:extLst>
              <a:ext uri="{FF2B5EF4-FFF2-40B4-BE49-F238E27FC236}">
                <a16:creationId xmlns:a16="http://schemas.microsoft.com/office/drawing/2014/main" id="{D0015552-CF78-4B16-8E12-5F38328F76A3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7355360" y="3965617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135" name="Szöveg helye 3">
            <a:extLst>
              <a:ext uri="{FF2B5EF4-FFF2-40B4-BE49-F238E27FC236}">
                <a16:creationId xmlns:a16="http://schemas.microsoft.com/office/drawing/2014/main" id="{D91B9127-1577-4283-B01D-47A68289A8B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355360" y="4447354"/>
            <a:ext cx="949832" cy="415335"/>
          </a:xfrm>
          <a:solidFill>
            <a:srgbClr val="E3E000"/>
          </a:solidFill>
          <a:ln>
            <a:noFill/>
          </a:ln>
        </p:spPr>
        <p:txBody>
          <a:bodyPr lIns="72000"/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None/>
              <a:defRPr sz="1100">
                <a:solidFill>
                  <a:srgbClr val="B00402"/>
                </a:solidFill>
              </a:defRPr>
            </a:lvl1pPr>
          </a:lstStyle>
          <a:p>
            <a:pPr lvl="0"/>
            <a:r>
              <a:rPr lang="hu-HU" dirty="0"/>
              <a:t>Text </a:t>
            </a:r>
            <a:r>
              <a:rPr lang="hu-HU" dirty="0" err="1"/>
              <a:t>Libri</a:t>
            </a:r>
            <a:endParaRPr lang="hu-HU" dirty="0"/>
          </a:p>
        </p:txBody>
      </p:sp>
      <p:sp>
        <p:nvSpPr>
          <p:cNvPr id="90" name="Titel 1">
            <a:extLst>
              <a:ext uri="{FF2B5EF4-FFF2-40B4-BE49-F238E27FC236}">
                <a16:creationId xmlns:a16="http://schemas.microsoft.com/office/drawing/2014/main" id="{C6C2BC09-A00B-4698-907C-4D8D30D94292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Organigram</a:t>
            </a:r>
            <a:br>
              <a:rPr lang="hu-HU" dirty="0"/>
            </a:br>
            <a:r>
              <a:rPr lang="hu-HU" dirty="0"/>
              <a:t>(</a:t>
            </a:r>
            <a:r>
              <a:rPr lang="hu-HU" dirty="0" err="1"/>
              <a:t>inc</a:t>
            </a:r>
            <a:r>
              <a:rPr lang="hu-HU" dirty="0"/>
              <a:t>. FTE and </a:t>
            </a:r>
            <a:r>
              <a:rPr lang="hu-HU" dirty="0" err="1"/>
              <a:t>names</a:t>
            </a:r>
            <a:r>
              <a:rPr lang="hu-HU" dirty="0"/>
              <a:t>)</a:t>
            </a:r>
            <a:endParaRPr lang="en-GB" dirty="0"/>
          </a:p>
        </p:txBody>
      </p:sp>
      <p:sp>
        <p:nvSpPr>
          <p:cNvPr id="94" name="Fußzeilenplatzhalter 6">
            <a:extLst>
              <a:ext uri="{FF2B5EF4-FFF2-40B4-BE49-F238E27FC236}">
                <a16:creationId xmlns:a16="http://schemas.microsoft.com/office/drawing/2014/main" id="{DD0A6F39-34B0-4C45-B419-56AD46E97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90895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Consequence) Vertical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03DF16A-1F89-4E2D-9156-DE5940B30F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Text (</a:t>
            </a:r>
            <a:r>
              <a:rPr lang="hu-HU" dirty="0" err="1"/>
              <a:t>Consequence</a:t>
            </a:r>
            <a:r>
              <a:rPr lang="hu-HU" dirty="0"/>
              <a:t>)</a:t>
            </a:r>
            <a:br>
              <a:rPr lang="hu-HU" dirty="0"/>
            </a:br>
            <a:r>
              <a:rPr lang="hu-HU" dirty="0" err="1"/>
              <a:t>Vertical</a:t>
            </a:r>
            <a:r>
              <a:rPr lang="hu-HU" dirty="0"/>
              <a:t> (2)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0D93E3E-8B94-4E2D-B225-7BBA4C30E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E1EE14-EB96-4F69-AC5D-132EC7369D16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E73F6B5B-96FF-41BC-B749-7D655C3BD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A3D2AC6C-02F6-4327-8102-FA2C446A7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Nyíl: ötszög 5">
            <a:extLst>
              <a:ext uri="{FF2B5EF4-FFF2-40B4-BE49-F238E27FC236}">
                <a16:creationId xmlns:a16="http://schemas.microsoft.com/office/drawing/2014/main" id="{1B9C609F-0CE6-4046-ADBF-D88C5A67EADE}"/>
              </a:ext>
            </a:extLst>
          </p:cNvPr>
          <p:cNvSpPr/>
          <p:nvPr userDrawn="1"/>
        </p:nvSpPr>
        <p:spPr>
          <a:xfrm>
            <a:off x="378003" y="1419005"/>
            <a:ext cx="2562781" cy="476889"/>
          </a:xfrm>
          <a:prstGeom prst="homePlate">
            <a:avLst>
              <a:gd name="adj" fmla="val 30374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ctr"/>
            <a:endParaRPr lang="hu-HU">
              <a:solidFill>
                <a:srgbClr val="5CC1CB"/>
              </a:solidFill>
            </a:endParaRPr>
          </a:p>
        </p:txBody>
      </p:sp>
      <p:sp>
        <p:nvSpPr>
          <p:cNvPr id="7" name="Szöveg helye 26">
            <a:extLst>
              <a:ext uri="{FF2B5EF4-FFF2-40B4-BE49-F238E27FC236}">
                <a16:creationId xmlns:a16="http://schemas.microsoft.com/office/drawing/2014/main" id="{E57A7792-E6A3-45DF-8E0A-9F4A0AE42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999" y="1419007"/>
            <a:ext cx="2406555" cy="470371"/>
          </a:xfrm>
        </p:spPr>
        <p:txBody>
          <a:bodyPr lIns="72000" tIns="72000" bIns="72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8" name="Nyíl: sávnyíl 7">
            <a:extLst>
              <a:ext uri="{FF2B5EF4-FFF2-40B4-BE49-F238E27FC236}">
                <a16:creationId xmlns:a16="http://schemas.microsoft.com/office/drawing/2014/main" id="{8DE222B1-9B7C-4B08-AC4A-B2443837F8F0}"/>
              </a:ext>
            </a:extLst>
          </p:cNvPr>
          <p:cNvSpPr/>
          <p:nvPr userDrawn="1"/>
        </p:nvSpPr>
        <p:spPr>
          <a:xfrm>
            <a:off x="3218160" y="1419005"/>
            <a:ext cx="2599078" cy="469530"/>
          </a:xfrm>
          <a:prstGeom prst="chevron">
            <a:avLst>
              <a:gd name="adj" fmla="val 29410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E386005D-E98C-4F42-929E-60AF3BF978CC}"/>
              </a:ext>
            </a:extLst>
          </p:cNvPr>
          <p:cNvSpPr/>
          <p:nvPr userDrawn="1"/>
        </p:nvSpPr>
        <p:spPr>
          <a:xfrm>
            <a:off x="5160157" y="1419006"/>
            <a:ext cx="657081" cy="469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Szöveg helye 26">
            <a:extLst>
              <a:ext uri="{FF2B5EF4-FFF2-40B4-BE49-F238E27FC236}">
                <a16:creationId xmlns:a16="http://schemas.microsoft.com/office/drawing/2014/main" id="{63A2A5E6-A2AE-4AA4-A22F-89DB8437C0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10076" y="1425524"/>
            <a:ext cx="2407161" cy="470371"/>
          </a:xfrm>
        </p:spPr>
        <p:txBody>
          <a:bodyPr lIns="72000" tIns="72000" bIns="72000" anchor="ctr"/>
          <a:lstStyle>
            <a:lvl1pPr algn="l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r>
              <a:rPr lang="hu-HU" dirty="0"/>
              <a:t> </a:t>
            </a:r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CE71501-4EF2-4A76-B006-CFE2557BD51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8000" y="2005432"/>
            <a:ext cx="2365200" cy="221041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Aft>
                <a:spcPts val="20"/>
              </a:spcAft>
              <a:defRPr sz="1400"/>
            </a:lvl2pPr>
            <a:lvl3pPr>
              <a:spcAft>
                <a:spcPts val="20"/>
              </a:spcAft>
              <a:defRPr sz="1400"/>
            </a:lvl3pPr>
            <a:lvl4pPr>
              <a:spcAft>
                <a:spcPts val="20"/>
              </a:spcAft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5835194-C440-4D9C-BBAB-74ADF998112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218160" y="2005431"/>
            <a:ext cx="2365200" cy="221041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Aft>
                <a:spcPts val="20"/>
              </a:spcAft>
              <a:defRPr sz="1400"/>
            </a:lvl2pPr>
            <a:lvl3pPr>
              <a:spcAft>
                <a:spcPts val="20"/>
              </a:spcAft>
              <a:defRPr sz="1400"/>
            </a:lvl3pPr>
            <a:lvl4pPr>
              <a:spcAft>
                <a:spcPts val="20"/>
              </a:spcAft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610566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yíl: sávnyíl 12">
            <a:extLst>
              <a:ext uri="{FF2B5EF4-FFF2-40B4-BE49-F238E27FC236}">
                <a16:creationId xmlns:a16="http://schemas.microsoft.com/office/drawing/2014/main" id="{4FCE91DE-14C9-41A3-87C4-84B0D573C57E}"/>
              </a:ext>
            </a:extLst>
          </p:cNvPr>
          <p:cNvSpPr/>
          <p:nvPr userDrawn="1"/>
        </p:nvSpPr>
        <p:spPr>
          <a:xfrm>
            <a:off x="3138193" y="1024048"/>
            <a:ext cx="2436942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17" name="Nyíl: ötszög 16">
            <a:extLst>
              <a:ext uri="{FF2B5EF4-FFF2-40B4-BE49-F238E27FC236}">
                <a16:creationId xmlns:a16="http://schemas.microsoft.com/office/drawing/2014/main" id="{6B59E2E2-1D94-4502-BBCA-3B69D8EE952D}"/>
              </a:ext>
            </a:extLst>
          </p:cNvPr>
          <p:cNvSpPr/>
          <p:nvPr userDrawn="1"/>
        </p:nvSpPr>
        <p:spPr>
          <a:xfrm>
            <a:off x="388552" y="1030324"/>
            <a:ext cx="2437200" cy="478800"/>
          </a:xfrm>
          <a:prstGeom prst="homePlate">
            <a:avLst>
              <a:gd name="adj" fmla="val 17957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Nyíl: sávnyíl 18">
            <a:extLst>
              <a:ext uri="{FF2B5EF4-FFF2-40B4-BE49-F238E27FC236}">
                <a16:creationId xmlns:a16="http://schemas.microsoft.com/office/drawing/2014/main" id="{6896C1B2-DCB3-4127-905B-66B6D74BA940}"/>
              </a:ext>
            </a:extLst>
          </p:cNvPr>
          <p:cNvSpPr/>
          <p:nvPr userDrawn="1"/>
        </p:nvSpPr>
        <p:spPr>
          <a:xfrm>
            <a:off x="5887577" y="1032236"/>
            <a:ext cx="2436942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0" name="Nyíl: ötszög 19">
            <a:extLst>
              <a:ext uri="{FF2B5EF4-FFF2-40B4-BE49-F238E27FC236}">
                <a16:creationId xmlns:a16="http://schemas.microsoft.com/office/drawing/2014/main" id="{9BB892BF-06F3-418F-BFD3-4E06E7410781}"/>
              </a:ext>
            </a:extLst>
          </p:cNvPr>
          <p:cNvSpPr/>
          <p:nvPr userDrawn="1"/>
        </p:nvSpPr>
        <p:spPr>
          <a:xfrm>
            <a:off x="377997" y="2336832"/>
            <a:ext cx="1924561" cy="478800"/>
          </a:xfrm>
          <a:prstGeom prst="homePlate">
            <a:avLst>
              <a:gd name="adj" fmla="val 17957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Nyíl: sávnyíl 20">
            <a:extLst>
              <a:ext uri="{FF2B5EF4-FFF2-40B4-BE49-F238E27FC236}">
                <a16:creationId xmlns:a16="http://schemas.microsoft.com/office/drawing/2014/main" id="{DA89C3C6-6A8D-4978-B6C5-375F00E4FDE3}"/>
              </a:ext>
            </a:extLst>
          </p:cNvPr>
          <p:cNvSpPr/>
          <p:nvPr userDrawn="1"/>
        </p:nvSpPr>
        <p:spPr>
          <a:xfrm>
            <a:off x="2372685" y="2343995"/>
            <a:ext cx="1926000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2" name="Nyíl: sávnyíl 21">
            <a:extLst>
              <a:ext uri="{FF2B5EF4-FFF2-40B4-BE49-F238E27FC236}">
                <a16:creationId xmlns:a16="http://schemas.microsoft.com/office/drawing/2014/main" id="{D62415E7-6F3A-424F-8518-633AFFC38F6F}"/>
              </a:ext>
            </a:extLst>
          </p:cNvPr>
          <p:cNvSpPr/>
          <p:nvPr userDrawn="1"/>
        </p:nvSpPr>
        <p:spPr>
          <a:xfrm>
            <a:off x="4368813" y="2331190"/>
            <a:ext cx="1926000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3" name="Nyíl: ötszög 22">
            <a:extLst>
              <a:ext uri="{FF2B5EF4-FFF2-40B4-BE49-F238E27FC236}">
                <a16:creationId xmlns:a16="http://schemas.microsoft.com/office/drawing/2014/main" id="{A1BD1DCE-ACAE-407C-A0DE-F8C6E7E7CE0C}"/>
              </a:ext>
            </a:extLst>
          </p:cNvPr>
          <p:cNvSpPr/>
          <p:nvPr userDrawn="1"/>
        </p:nvSpPr>
        <p:spPr>
          <a:xfrm>
            <a:off x="6389405" y="2334920"/>
            <a:ext cx="1924561" cy="478800"/>
          </a:xfrm>
          <a:prstGeom prst="homePlate">
            <a:avLst>
              <a:gd name="adj" fmla="val 17957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rgbClr val="EA1C0A"/>
              </a:solidFill>
            </a:endParaRPr>
          </a:p>
        </p:txBody>
      </p:sp>
      <p:sp>
        <p:nvSpPr>
          <p:cNvPr id="24" name="Nyíl: ötszög 23">
            <a:extLst>
              <a:ext uri="{FF2B5EF4-FFF2-40B4-BE49-F238E27FC236}">
                <a16:creationId xmlns:a16="http://schemas.microsoft.com/office/drawing/2014/main" id="{D135E8B9-AA39-47F0-A7BC-4CB21CA3EDAE}"/>
              </a:ext>
            </a:extLst>
          </p:cNvPr>
          <p:cNvSpPr/>
          <p:nvPr userDrawn="1"/>
        </p:nvSpPr>
        <p:spPr>
          <a:xfrm>
            <a:off x="378000" y="3647704"/>
            <a:ext cx="1499895" cy="478800"/>
          </a:xfrm>
          <a:prstGeom prst="homePlate">
            <a:avLst>
              <a:gd name="adj" fmla="val 17957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0" name="Nyíl: ötszög 29">
            <a:extLst>
              <a:ext uri="{FF2B5EF4-FFF2-40B4-BE49-F238E27FC236}">
                <a16:creationId xmlns:a16="http://schemas.microsoft.com/office/drawing/2014/main" id="{F3E35830-F1CA-4520-8A16-A72833C6679E}"/>
              </a:ext>
            </a:extLst>
          </p:cNvPr>
          <p:cNvSpPr/>
          <p:nvPr userDrawn="1"/>
        </p:nvSpPr>
        <p:spPr>
          <a:xfrm>
            <a:off x="6754655" y="3618671"/>
            <a:ext cx="1499895" cy="478800"/>
          </a:xfrm>
          <a:prstGeom prst="homePlate">
            <a:avLst>
              <a:gd name="adj" fmla="val 17957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rgbClr val="EA1C0A"/>
              </a:solidFill>
            </a:endParaRPr>
          </a:p>
        </p:txBody>
      </p:sp>
      <p:sp>
        <p:nvSpPr>
          <p:cNvPr id="31" name="Nyíl: sávnyíl 30">
            <a:extLst>
              <a:ext uri="{FF2B5EF4-FFF2-40B4-BE49-F238E27FC236}">
                <a16:creationId xmlns:a16="http://schemas.microsoft.com/office/drawing/2014/main" id="{EB370CC8-10D4-4DA9-B97C-DF0EE08C027D}"/>
              </a:ext>
            </a:extLst>
          </p:cNvPr>
          <p:cNvSpPr/>
          <p:nvPr userDrawn="1"/>
        </p:nvSpPr>
        <p:spPr>
          <a:xfrm>
            <a:off x="1954514" y="3641555"/>
            <a:ext cx="1501200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32" name="Nyíl: sávnyíl 31">
            <a:extLst>
              <a:ext uri="{FF2B5EF4-FFF2-40B4-BE49-F238E27FC236}">
                <a16:creationId xmlns:a16="http://schemas.microsoft.com/office/drawing/2014/main" id="{936420DC-19DE-46C1-BFD3-C49746A03C9C}"/>
              </a:ext>
            </a:extLst>
          </p:cNvPr>
          <p:cNvSpPr/>
          <p:nvPr userDrawn="1"/>
        </p:nvSpPr>
        <p:spPr>
          <a:xfrm>
            <a:off x="3532333" y="3636420"/>
            <a:ext cx="1501200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33" name="Nyíl: sávnyíl 32">
            <a:extLst>
              <a:ext uri="{FF2B5EF4-FFF2-40B4-BE49-F238E27FC236}">
                <a16:creationId xmlns:a16="http://schemas.microsoft.com/office/drawing/2014/main" id="{600808D3-6FED-4FA9-B08A-9F876132A6B7}"/>
              </a:ext>
            </a:extLst>
          </p:cNvPr>
          <p:cNvSpPr/>
          <p:nvPr userDrawn="1"/>
        </p:nvSpPr>
        <p:spPr>
          <a:xfrm>
            <a:off x="5108847" y="3620583"/>
            <a:ext cx="1501200" cy="476888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35" name="Szöveg helye 34">
            <a:extLst>
              <a:ext uri="{FF2B5EF4-FFF2-40B4-BE49-F238E27FC236}">
                <a16:creationId xmlns:a16="http://schemas.microsoft.com/office/drawing/2014/main" id="{45955429-C931-4082-AD7D-CED90F3776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553" y="1040449"/>
            <a:ext cx="2243138" cy="474662"/>
          </a:xfrm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36" name="Szöveg helye 34">
            <a:extLst>
              <a:ext uri="{FF2B5EF4-FFF2-40B4-BE49-F238E27FC236}">
                <a16:creationId xmlns:a16="http://schemas.microsoft.com/office/drawing/2014/main" id="{8470A95C-54BE-4890-BCCC-2895E900FD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8836" y="1024048"/>
            <a:ext cx="2243138" cy="474662"/>
          </a:xfrm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ne</a:t>
            </a:r>
            <a:r>
              <a:rPr lang="hu-HU" dirty="0"/>
              <a:t>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37" name="Szöveg helye 34">
            <a:extLst>
              <a:ext uri="{FF2B5EF4-FFF2-40B4-BE49-F238E27FC236}">
                <a16:creationId xmlns:a16="http://schemas.microsoft.com/office/drawing/2014/main" id="{6560612C-9648-4C90-84BE-526520B77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81381" y="1024048"/>
            <a:ext cx="2243138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inesdv</a:t>
            </a:r>
            <a:endParaRPr lang="hu-HU" dirty="0"/>
          </a:p>
        </p:txBody>
      </p:sp>
      <p:sp>
        <p:nvSpPr>
          <p:cNvPr id="38" name="Szöveg helye 34">
            <a:extLst>
              <a:ext uri="{FF2B5EF4-FFF2-40B4-BE49-F238E27FC236}">
                <a16:creationId xmlns:a16="http://schemas.microsoft.com/office/drawing/2014/main" id="{DBCC309A-0BA6-4FAC-B058-7166F69451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8553" y="2340558"/>
            <a:ext cx="1794467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39" name="Szöveg helye 34">
            <a:extLst>
              <a:ext uri="{FF2B5EF4-FFF2-40B4-BE49-F238E27FC236}">
                <a16:creationId xmlns:a16="http://schemas.microsoft.com/office/drawing/2014/main" id="{F449DF02-2200-4BE2-B7F8-9D8E04FBA6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9405" y="2327449"/>
            <a:ext cx="1794467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0" name="Szöveg helye 34">
            <a:extLst>
              <a:ext uri="{FF2B5EF4-FFF2-40B4-BE49-F238E27FC236}">
                <a16:creationId xmlns:a16="http://schemas.microsoft.com/office/drawing/2014/main" id="{4CB16AC6-0958-43E6-9374-DDA2F46642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19921" y="2346221"/>
            <a:ext cx="1301169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1" name="Szöveg helye 34">
            <a:extLst>
              <a:ext uri="{FF2B5EF4-FFF2-40B4-BE49-F238E27FC236}">
                <a16:creationId xmlns:a16="http://schemas.microsoft.com/office/drawing/2014/main" id="{B65B39FC-1EF5-493A-A6C7-966D70712D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381" y="2371917"/>
            <a:ext cx="1578921" cy="436161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2" name="Szöveg helye 34">
            <a:extLst>
              <a:ext uri="{FF2B5EF4-FFF2-40B4-BE49-F238E27FC236}">
                <a16:creationId xmlns:a16="http://schemas.microsoft.com/office/drawing/2014/main" id="{6C75DE12-9C81-4BFF-9E1F-3BA9764B61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54655" y="3607062"/>
            <a:ext cx="1375731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3" name="Szöveg helye 34">
            <a:extLst>
              <a:ext uri="{FF2B5EF4-FFF2-40B4-BE49-F238E27FC236}">
                <a16:creationId xmlns:a16="http://schemas.microsoft.com/office/drawing/2014/main" id="{923C776F-909D-4437-9F4D-A7B4A6BC9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0850" y="3647704"/>
            <a:ext cx="1169045" cy="436076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4" name="Szöveg helye 34">
            <a:extLst>
              <a:ext uri="{FF2B5EF4-FFF2-40B4-BE49-F238E27FC236}">
                <a16:creationId xmlns:a16="http://schemas.microsoft.com/office/drawing/2014/main" id="{771D139A-D57B-4298-A409-21DEF90F9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30348" y="3638646"/>
            <a:ext cx="1117813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5" name="Szöveg helye 34">
            <a:extLst>
              <a:ext uri="{FF2B5EF4-FFF2-40B4-BE49-F238E27FC236}">
                <a16:creationId xmlns:a16="http://schemas.microsoft.com/office/drawing/2014/main" id="{78227D49-D707-4C36-BE06-C71BC5C80B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32578" y="3639205"/>
            <a:ext cx="1185706" cy="47466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6" name="Szöveg helye 34">
            <a:extLst>
              <a:ext uri="{FF2B5EF4-FFF2-40B4-BE49-F238E27FC236}">
                <a16:creationId xmlns:a16="http://schemas.microsoft.com/office/drawing/2014/main" id="{BFFF96D3-BC84-4B64-AAF4-54DAC21898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001" y="3657616"/>
            <a:ext cx="1416362" cy="455692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8" name="Szöveg helye 47">
            <a:extLst>
              <a:ext uri="{FF2B5EF4-FFF2-40B4-BE49-F238E27FC236}">
                <a16:creationId xmlns:a16="http://schemas.microsoft.com/office/drawing/2014/main" id="{2D8AF799-F30D-4281-8CCF-A1903E686A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145" y="1553376"/>
            <a:ext cx="1793875" cy="711200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49" name="Szöveg helye 47">
            <a:extLst>
              <a:ext uri="{FF2B5EF4-FFF2-40B4-BE49-F238E27FC236}">
                <a16:creationId xmlns:a16="http://schemas.microsoft.com/office/drawing/2014/main" id="{FCCEE6AF-CD74-4711-AF5A-0D6B37E9B2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45633" y="1553104"/>
            <a:ext cx="179387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269875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269875" indent="176213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2"/>
            <a:endParaRPr lang="hu-HU" dirty="0"/>
          </a:p>
        </p:txBody>
      </p:sp>
      <p:sp>
        <p:nvSpPr>
          <p:cNvPr id="50" name="Szöveg helye 47">
            <a:extLst>
              <a:ext uri="{FF2B5EF4-FFF2-40B4-BE49-F238E27FC236}">
                <a16:creationId xmlns:a16="http://schemas.microsoft.com/office/drawing/2014/main" id="{3C187DB3-C139-4D2E-B83F-3AEE4D204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87577" y="1552272"/>
            <a:ext cx="1793875" cy="711200"/>
          </a:xfrm>
        </p:spPr>
        <p:txBody>
          <a:bodyPr/>
          <a:lstStyle>
            <a:lvl3pPr marL="85725" indent="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2"/>
            <a:endParaRPr lang="hu-HU" dirty="0"/>
          </a:p>
        </p:txBody>
      </p:sp>
      <p:sp>
        <p:nvSpPr>
          <p:cNvPr id="51" name="Szöveg helye 47">
            <a:extLst>
              <a:ext uri="{FF2B5EF4-FFF2-40B4-BE49-F238E27FC236}">
                <a16:creationId xmlns:a16="http://schemas.microsoft.com/office/drawing/2014/main" id="{FA1755E0-AE30-4D49-AC11-5E82C031E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3276" y="2864827"/>
            <a:ext cx="179387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4476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2" name="Szöveg helye 47">
            <a:extLst>
              <a:ext uri="{FF2B5EF4-FFF2-40B4-BE49-F238E27FC236}">
                <a16:creationId xmlns:a16="http://schemas.microsoft.com/office/drawing/2014/main" id="{A0FD1E0F-F750-4EC5-9654-B5B6E8643D9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83238" y="2864836"/>
            <a:ext cx="179387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447675" indent="904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3" name="Szöveg helye 47">
            <a:extLst>
              <a:ext uri="{FF2B5EF4-FFF2-40B4-BE49-F238E27FC236}">
                <a16:creationId xmlns:a16="http://schemas.microsoft.com/office/drawing/2014/main" id="{4D590CB8-5D20-41C9-845C-5AB81CE5B60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465" y="2864836"/>
            <a:ext cx="179387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4" name="Szöveg helye 47">
            <a:extLst>
              <a:ext uri="{FF2B5EF4-FFF2-40B4-BE49-F238E27FC236}">
                <a16:creationId xmlns:a16="http://schemas.microsoft.com/office/drawing/2014/main" id="{52310B3A-E91B-4BED-83C5-1A347C3B414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5692" y="2859539"/>
            <a:ext cx="1793875" cy="711200"/>
          </a:xfrm>
        </p:spPr>
        <p:txBody>
          <a:bodyPr/>
          <a:lstStyle>
            <a:lvl3pPr marL="285750" indent="-2857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5" name="Szöveg helye 47">
            <a:extLst>
              <a:ext uri="{FF2B5EF4-FFF2-40B4-BE49-F238E27FC236}">
                <a16:creationId xmlns:a16="http://schemas.microsoft.com/office/drawing/2014/main" id="{65643EE4-BCD5-41BB-B089-6F0587E3BD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3276" y="4156475"/>
            <a:ext cx="140581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7" name="Szöveg helye 47">
            <a:extLst>
              <a:ext uri="{FF2B5EF4-FFF2-40B4-BE49-F238E27FC236}">
                <a16:creationId xmlns:a16="http://schemas.microsoft.com/office/drawing/2014/main" id="{7BB6C868-A581-4C4B-8FB8-DF58E7C7464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54514" y="4156475"/>
            <a:ext cx="140581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8" name="Szöveg helye 47">
            <a:extLst>
              <a:ext uri="{FF2B5EF4-FFF2-40B4-BE49-F238E27FC236}">
                <a16:creationId xmlns:a16="http://schemas.microsoft.com/office/drawing/2014/main" id="{E71C2F8F-88BF-42C0-9ECF-6789B85E7E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533696" y="4156475"/>
            <a:ext cx="140581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9" name="Szöveg helye 47">
            <a:extLst>
              <a:ext uri="{FF2B5EF4-FFF2-40B4-BE49-F238E27FC236}">
                <a16:creationId xmlns:a16="http://schemas.microsoft.com/office/drawing/2014/main" id="{0E266E89-FA87-4ED1-94C7-A3A53126A4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09254" y="4151900"/>
            <a:ext cx="140581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60" name="Szöveg helye 47">
            <a:extLst>
              <a:ext uri="{FF2B5EF4-FFF2-40B4-BE49-F238E27FC236}">
                <a16:creationId xmlns:a16="http://schemas.microsoft.com/office/drawing/2014/main" id="{CCEFC88C-5AAC-4071-B2AD-D66821A5274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55009" y="4156475"/>
            <a:ext cx="1405812" cy="711200"/>
          </a:xfrm>
        </p:spPr>
        <p:txBody>
          <a:bodyPr/>
          <a:lstStyle>
            <a:lvl3pPr marL="266700" indent="-1968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446088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83C853F4-50A6-485F-BB86-DEDBD8BDA57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err="1"/>
              <a:t>Phases</a:t>
            </a:r>
            <a:endParaRPr lang="en-GB" dirty="0"/>
          </a:p>
        </p:txBody>
      </p:sp>
      <p:sp>
        <p:nvSpPr>
          <p:cNvPr id="65" name="Fußzeilenplatzhalter 6">
            <a:extLst>
              <a:ext uri="{FF2B5EF4-FFF2-40B4-BE49-F238E27FC236}">
                <a16:creationId xmlns:a16="http://schemas.microsoft.com/office/drawing/2014/main" id="{0816E134-D4F2-46B4-86EF-2C1F275F8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473150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Vertical (3,4,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zöveg helye 34">
            <a:extLst>
              <a:ext uri="{FF2B5EF4-FFF2-40B4-BE49-F238E27FC236}">
                <a16:creationId xmlns:a16="http://schemas.microsoft.com/office/drawing/2014/main" id="{45955429-C931-4082-AD7D-CED90F3776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553" y="1040449"/>
            <a:ext cx="2243138" cy="474662"/>
          </a:xfrm>
          <a:solidFill>
            <a:srgbClr val="EA1C0A"/>
          </a:solidFill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36" name="Szöveg helye 34">
            <a:extLst>
              <a:ext uri="{FF2B5EF4-FFF2-40B4-BE49-F238E27FC236}">
                <a16:creationId xmlns:a16="http://schemas.microsoft.com/office/drawing/2014/main" id="{8470A95C-54BE-4890-BCCC-2895E900FD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7900" y="1040235"/>
            <a:ext cx="2243138" cy="474662"/>
          </a:xfrm>
          <a:solidFill>
            <a:srgbClr val="EA1C0A"/>
          </a:solidFill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ne</a:t>
            </a:r>
            <a:r>
              <a:rPr lang="hu-HU" dirty="0"/>
              <a:t>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37" name="Szöveg helye 34">
            <a:extLst>
              <a:ext uri="{FF2B5EF4-FFF2-40B4-BE49-F238E27FC236}">
                <a16:creationId xmlns:a16="http://schemas.microsoft.com/office/drawing/2014/main" id="{6560612C-9648-4C90-84BE-526520B77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87248" y="1040235"/>
            <a:ext cx="2243138" cy="47466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inesdv</a:t>
            </a:r>
            <a:endParaRPr lang="hu-HU" dirty="0"/>
          </a:p>
        </p:txBody>
      </p:sp>
      <p:sp>
        <p:nvSpPr>
          <p:cNvPr id="38" name="Szöveg helye 34">
            <a:extLst>
              <a:ext uri="{FF2B5EF4-FFF2-40B4-BE49-F238E27FC236}">
                <a16:creationId xmlns:a16="http://schemas.microsoft.com/office/drawing/2014/main" id="{DBCC309A-0BA6-4FAC-B058-7166F69451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8553" y="2354310"/>
            <a:ext cx="1794467" cy="45195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39" name="Szöveg helye 34">
            <a:extLst>
              <a:ext uri="{FF2B5EF4-FFF2-40B4-BE49-F238E27FC236}">
                <a16:creationId xmlns:a16="http://schemas.microsoft.com/office/drawing/2014/main" id="{F449DF02-2200-4BE2-B7F8-9D8E04FBA6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5919" y="2359973"/>
            <a:ext cx="1794467" cy="460910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0" name="Szöveg helye 34">
            <a:extLst>
              <a:ext uri="{FF2B5EF4-FFF2-40B4-BE49-F238E27FC236}">
                <a16:creationId xmlns:a16="http://schemas.microsoft.com/office/drawing/2014/main" id="{4CB16AC6-0958-43E6-9374-DDA2F46642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19921" y="2359973"/>
            <a:ext cx="1301169" cy="460910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1" name="Szöveg helye 34">
            <a:extLst>
              <a:ext uri="{FF2B5EF4-FFF2-40B4-BE49-F238E27FC236}">
                <a16:creationId xmlns:a16="http://schemas.microsoft.com/office/drawing/2014/main" id="{B65B39FC-1EF5-493A-A6C7-966D70712D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381" y="2359973"/>
            <a:ext cx="1578921" cy="448105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2" name="Szöveg helye 34">
            <a:extLst>
              <a:ext uri="{FF2B5EF4-FFF2-40B4-BE49-F238E27FC236}">
                <a16:creationId xmlns:a16="http://schemas.microsoft.com/office/drawing/2014/main" id="{6C75DE12-9C81-4BFF-9E1F-3BA9764B61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54655" y="3660338"/>
            <a:ext cx="1375731" cy="421386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3" name="Szöveg helye 34">
            <a:extLst>
              <a:ext uri="{FF2B5EF4-FFF2-40B4-BE49-F238E27FC236}">
                <a16:creationId xmlns:a16="http://schemas.microsoft.com/office/drawing/2014/main" id="{923C776F-909D-4437-9F4D-A7B4A6BC9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0850" y="3660338"/>
            <a:ext cx="1169045" cy="42344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4" name="Szöveg helye 34">
            <a:extLst>
              <a:ext uri="{FF2B5EF4-FFF2-40B4-BE49-F238E27FC236}">
                <a16:creationId xmlns:a16="http://schemas.microsoft.com/office/drawing/2014/main" id="{771D139A-D57B-4298-A409-21DEF90F9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30348" y="3660338"/>
            <a:ext cx="1117813" cy="42344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5" name="Szöveg helye 34">
            <a:extLst>
              <a:ext uri="{FF2B5EF4-FFF2-40B4-BE49-F238E27FC236}">
                <a16:creationId xmlns:a16="http://schemas.microsoft.com/office/drawing/2014/main" id="{78227D49-D707-4C36-BE06-C71BC5C80B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9040" y="3660338"/>
            <a:ext cx="1185706" cy="421386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6" name="Szöveg helye 34">
            <a:extLst>
              <a:ext uri="{FF2B5EF4-FFF2-40B4-BE49-F238E27FC236}">
                <a16:creationId xmlns:a16="http://schemas.microsoft.com/office/drawing/2014/main" id="{BFFF96D3-BC84-4B64-AAF4-54DAC21898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8553" y="3660338"/>
            <a:ext cx="1416362" cy="421386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8" name="Szöveg helye 47">
            <a:extLst>
              <a:ext uri="{FF2B5EF4-FFF2-40B4-BE49-F238E27FC236}">
                <a16:creationId xmlns:a16="http://schemas.microsoft.com/office/drawing/2014/main" id="{2D8AF799-F30D-4281-8CCF-A1903E686A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146" y="1553376"/>
            <a:ext cx="2242546" cy="711200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49" name="Szöveg helye 47">
            <a:extLst>
              <a:ext uri="{FF2B5EF4-FFF2-40B4-BE49-F238E27FC236}">
                <a16:creationId xmlns:a16="http://schemas.microsoft.com/office/drawing/2014/main" id="{FCCEE6AF-CD74-4711-AF5A-0D6B37E9B2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45633" y="1553104"/>
            <a:ext cx="223540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269875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269875" indent="176213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2"/>
            <a:endParaRPr lang="hu-HU" dirty="0"/>
          </a:p>
        </p:txBody>
      </p:sp>
      <p:sp>
        <p:nvSpPr>
          <p:cNvPr id="50" name="Szöveg helye 47">
            <a:extLst>
              <a:ext uri="{FF2B5EF4-FFF2-40B4-BE49-F238E27FC236}">
                <a16:creationId xmlns:a16="http://schemas.microsoft.com/office/drawing/2014/main" id="{3C187DB3-C139-4D2E-B83F-3AEE4D204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87577" y="1552272"/>
            <a:ext cx="2242810" cy="711200"/>
          </a:xfrm>
        </p:spPr>
        <p:txBody>
          <a:bodyPr/>
          <a:lstStyle>
            <a:lvl3pPr marL="85725" indent="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2"/>
            <a:endParaRPr lang="hu-HU" dirty="0"/>
          </a:p>
        </p:txBody>
      </p:sp>
      <p:sp>
        <p:nvSpPr>
          <p:cNvPr id="51" name="Szöveg helye 47">
            <a:extLst>
              <a:ext uri="{FF2B5EF4-FFF2-40B4-BE49-F238E27FC236}">
                <a16:creationId xmlns:a16="http://schemas.microsoft.com/office/drawing/2014/main" id="{FA1755E0-AE30-4D49-AC11-5E82C031E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3276" y="2864827"/>
            <a:ext cx="179387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4476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2" name="Szöveg helye 47">
            <a:extLst>
              <a:ext uri="{FF2B5EF4-FFF2-40B4-BE49-F238E27FC236}">
                <a16:creationId xmlns:a16="http://schemas.microsoft.com/office/drawing/2014/main" id="{A0FD1E0F-F750-4EC5-9654-B5B6E8643D9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74381" y="2864836"/>
            <a:ext cx="157892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447675" indent="904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3" name="Szöveg helye 47">
            <a:extLst>
              <a:ext uri="{FF2B5EF4-FFF2-40B4-BE49-F238E27FC236}">
                <a16:creationId xmlns:a16="http://schemas.microsoft.com/office/drawing/2014/main" id="{4D590CB8-5D20-41C9-845C-5AB81CE5B60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19921" y="2864836"/>
            <a:ext cx="1367656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4" name="Szöveg helye 47">
            <a:extLst>
              <a:ext uri="{FF2B5EF4-FFF2-40B4-BE49-F238E27FC236}">
                <a16:creationId xmlns:a16="http://schemas.microsoft.com/office/drawing/2014/main" id="{52310B3A-E91B-4BED-83C5-1A347C3B414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5919" y="2859539"/>
            <a:ext cx="1794468" cy="711200"/>
          </a:xfrm>
        </p:spPr>
        <p:txBody>
          <a:bodyPr/>
          <a:lstStyle>
            <a:lvl3pPr marL="285750" indent="-2857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5" name="Szöveg helye 47">
            <a:extLst>
              <a:ext uri="{FF2B5EF4-FFF2-40B4-BE49-F238E27FC236}">
                <a16:creationId xmlns:a16="http://schemas.microsoft.com/office/drawing/2014/main" id="{65643EE4-BCD5-41BB-B089-6F0587E3BD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3276" y="4121013"/>
            <a:ext cx="140581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7" name="Szöveg helye 47">
            <a:extLst>
              <a:ext uri="{FF2B5EF4-FFF2-40B4-BE49-F238E27FC236}">
                <a16:creationId xmlns:a16="http://schemas.microsoft.com/office/drawing/2014/main" id="{7BB6C868-A581-4C4B-8FB8-DF58E7C7464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29040" y="4121013"/>
            <a:ext cx="1185706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8" name="Szöveg helye 47">
            <a:extLst>
              <a:ext uri="{FF2B5EF4-FFF2-40B4-BE49-F238E27FC236}">
                <a16:creationId xmlns:a16="http://schemas.microsoft.com/office/drawing/2014/main" id="{E71C2F8F-88BF-42C0-9ECF-6789B85E7E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30348" y="4121013"/>
            <a:ext cx="1245388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59" name="Szöveg helye 47">
            <a:extLst>
              <a:ext uri="{FF2B5EF4-FFF2-40B4-BE49-F238E27FC236}">
                <a16:creationId xmlns:a16="http://schemas.microsoft.com/office/drawing/2014/main" id="{0E266E89-FA87-4ED1-94C7-A3A53126A4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80850" y="4116438"/>
            <a:ext cx="116904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60" name="Szöveg helye 47">
            <a:extLst>
              <a:ext uri="{FF2B5EF4-FFF2-40B4-BE49-F238E27FC236}">
                <a16:creationId xmlns:a16="http://schemas.microsoft.com/office/drawing/2014/main" id="{CCEFC88C-5AAC-4071-B2AD-D66821A5274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55009" y="4121013"/>
            <a:ext cx="1375377" cy="711200"/>
          </a:xfrm>
        </p:spPr>
        <p:txBody>
          <a:bodyPr/>
          <a:lstStyle>
            <a:lvl3pPr marL="266700" indent="-1968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446088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83C853F4-50A6-485F-BB86-DEDBD8BDA57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ext </a:t>
            </a:r>
          </a:p>
          <a:p>
            <a:r>
              <a:rPr lang="hu-HU" dirty="0" err="1"/>
              <a:t>Certical</a:t>
            </a:r>
            <a:r>
              <a:rPr lang="hu-HU" dirty="0"/>
              <a:t> (3,4,5)</a:t>
            </a:r>
            <a:endParaRPr lang="en-GB" dirty="0"/>
          </a:p>
        </p:txBody>
      </p:sp>
      <p:sp>
        <p:nvSpPr>
          <p:cNvPr id="65" name="Fußzeilenplatzhalter 6">
            <a:extLst>
              <a:ext uri="{FF2B5EF4-FFF2-40B4-BE49-F238E27FC236}">
                <a16:creationId xmlns:a16="http://schemas.microsoft.com/office/drawing/2014/main" id="{0816E134-D4F2-46B4-86EF-2C1F275F8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5042975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13269AA-EACA-49DC-94A6-EF444C1BD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Text </a:t>
            </a:r>
            <a:br>
              <a:rPr lang="hu-HU" dirty="0"/>
            </a:br>
            <a:r>
              <a:rPr lang="hu-HU" dirty="0" err="1"/>
              <a:t>Vertical</a:t>
            </a:r>
            <a:r>
              <a:rPr lang="hu-HU" dirty="0"/>
              <a:t> (3,4,5)</a:t>
            </a:r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B98646F-1F70-4FA3-A0FF-5027E39AC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3541" y="378000"/>
            <a:ext cx="1746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Szöveg helye 34">
            <a:extLst>
              <a:ext uri="{FF2B5EF4-FFF2-40B4-BE49-F238E27FC236}">
                <a16:creationId xmlns:a16="http://schemas.microsoft.com/office/drawing/2014/main" id="{ACCC9C07-5C82-4D15-95F6-4E34B4FB6E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8000" y="1157289"/>
            <a:ext cx="2480400" cy="474662"/>
          </a:xfrm>
          <a:solidFill>
            <a:srgbClr val="EA1C0A"/>
          </a:solidFill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7" name="Szöveg helye 34">
            <a:extLst>
              <a:ext uri="{FF2B5EF4-FFF2-40B4-BE49-F238E27FC236}">
                <a16:creationId xmlns:a16="http://schemas.microsoft.com/office/drawing/2014/main" id="{556D0DE7-B7B8-4546-B026-F3DC29E2C6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3261" y="1157075"/>
            <a:ext cx="2480400" cy="474662"/>
          </a:xfrm>
          <a:solidFill>
            <a:srgbClr val="EA1C0A"/>
          </a:solidFill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ne</a:t>
            </a:r>
            <a:r>
              <a:rPr lang="hu-HU" dirty="0"/>
              <a:t>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8" name="Szöveg helye 34">
            <a:extLst>
              <a:ext uri="{FF2B5EF4-FFF2-40B4-BE49-F238E27FC236}">
                <a16:creationId xmlns:a16="http://schemas.microsoft.com/office/drawing/2014/main" id="{0BCE7C0C-1BF5-48FF-AA5E-B13A918E23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8523" y="1157075"/>
            <a:ext cx="2480400" cy="47466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inesdv</a:t>
            </a:r>
            <a:endParaRPr lang="hu-HU" dirty="0"/>
          </a:p>
        </p:txBody>
      </p:sp>
      <p:sp>
        <p:nvSpPr>
          <p:cNvPr id="9" name="Szöveg helye 34">
            <a:extLst>
              <a:ext uri="{FF2B5EF4-FFF2-40B4-BE49-F238E27FC236}">
                <a16:creationId xmlns:a16="http://schemas.microsoft.com/office/drawing/2014/main" id="{0CCFD69C-8903-41DD-AECF-831B6D81A5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277" y="2471150"/>
            <a:ext cx="1580400" cy="45195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0" name="Szöveg helye 34">
            <a:extLst>
              <a:ext uri="{FF2B5EF4-FFF2-40B4-BE49-F238E27FC236}">
                <a16:creationId xmlns:a16="http://schemas.microsoft.com/office/drawing/2014/main" id="{AC693487-0CD3-4432-84BA-D818BD2DF4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8523" y="2476813"/>
            <a:ext cx="1580400" cy="460910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1" name="Szöveg helye 34">
            <a:extLst>
              <a:ext uri="{FF2B5EF4-FFF2-40B4-BE49-F238E27FC236}">
                <a16:creationId xmlns:a16="http://schemas.microsoft.com/office/drawing/2014/main" id="{5B93C06F-8922-4E2E-9144-20391FD469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9709" y="2476813"/>
            <a:ext cx="1580400" cy="460910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2" name="Szöveg helye 34">
            <a:extLst>
              <a:ext uri="{FF2B5EF4-FFF2-40B4-BE49-F238E27FC236}">
                <a16:creationId xmlns:a16="http://schemas.microsoft.com/office/drawing/2014/main" id="{4CB1B9E6-2C1D-4D8F-9AE1-9094B6E5F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26415" y="2471150"/>
            <a:ext cx="1580400" cy="448105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3" name="Szöveg helye 34">
            <a:extLst>
              <a:ext uri="{FF2B5EF4-FFF2-40B4-BE49-F238E27FC236}">
                <a16:creationId xmlns:a16="http://schemas.microsoft.com/office/drawing/2014/main" id="{54703002-1827-4452-B9FC-AF2E0DE3A4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53192" y="3772603"/>
            <a:ext cx="1375731" cy="421386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4" name="Szöveg helye 34">
            <a:extLst>
              <a:ext uri="{FF2B5EF4-FFF2-40B4-BE49-F238E27FC236}">
                <a16:creationId xmlns:a16="http://schemas.microsoft.com/office/drawing/2014/main" id="{CD046817-9C1E-4B9D-BF8E-AEE0EAFE73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7047" y="3781753"/>
            <a:ext cx="1375200" cy="42344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5" name="Szöveg helye 34">
            <a:extLst>
              <a:ext uri="{FF2B5EF4-FFF2-40B4-BE49-F238E27FC236}">
                <a16:creationId xmlns:a16="http://schemas.microsoft.com/office/drawing/2014/main" id="{2E70D818-A999-49A7-8081-540807F151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80902" y="3772603"/>
            <a:ext cx="1375200" cy="423442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6" name="Szöveg helye 34">
            <a:extLst>
              <a:ext uri="{FF2B5EF4-FFF2-40B4-BE49-F238E27FC236}">
                <a16:creationId xmlns:a16="http://schemas.microsoft.com/office/drawing/2014/main" id="{8F3D9429-DC08-472E-BC42-922FBF407A2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4757" y="3779234"/>
            <a:ext cx="1375200" cy="421386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7" name="Szöveg helye 34">
            <a:extLst>
              <a:ext uri="{FF2B5EF4-FFF2-40B4-BE49-F238E27FC236}">
                <a16:creationId xmlns:a16="http://schemas.microsoft.com/office/drawing/2014/main" id="{E94A7A78-EAF0-4CC3-B325-FE032E7BC6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3277" y="3777178"/>
            <a:ext cx="1375200" cy="421386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8" name="Szöveg helye 47">
            <a:extLst>
              <a:ext uri="{FF2B5EF4-FFF2-40B4-BE49-F238E27FC236}">
                <a16:creationId xmlns:a16="http://schemas.microsoft.com/office/drawing/2014/main" id="{8407A58E-B14E-4A87-9AF0-E946670F34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3870" y="1670216"/>
            <a:ext cx="2242546" cy="711200"/>
          </a:xfrm>
        </p:spPr>
        <p:txBody>
          <a:bodyPr/>
          <a:lstStyle>
            <a:lvl3pPr marL="0" indent="17780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19" name="Szöveg helye 47">
            <a:extLst>
              <a:ext uri="{FF2B5EF4-FFF2-40B4-BE49-F238E27FC236}">
                <a16:creationId xmlns:a16="http://schemas.microsoft.com/office/drawing/2014/main" id="{D46A39B2-D9CD-4D88-ABED-5286343612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11728" y="1664395"/>
            <a:ext cx="223540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269875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269875" indent="176213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2"/>
            <a:endParaRPr lang="hu-HU" dirty="0"/>
          </a:p>
        </p:txBody>
      </p:sp>
      <p:sp>
        <p:nvSpPr>
          <p:cNvPr id="20" name="Szöveg helye 47">
            <a:extLst>
              <a:ext uri="{FF2B5EF4-FFF2-40B4-BE49-F238E27FC236}">
                <a16:creationId xmlns:a16="http://schemas.microsoft.com/office/drawing/2014/main" id="{DF2ACF52-89FF-4275-B688-0A10347D22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82301" y="1669112"/>
            <a:ext cx="2242810" cy="711200"/>
          </a:xfrm>
        </p:spPr>
        <p:txBody>
          <a:bodyPr/>
          <a:lstStyle>
            <a:lvl3pPr marL="85725" indent="180975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2"/>
            <a:endParaRPr lang="hu-HU" dirty="0"/>
          </a:p>
        </p:txBody>
      </p:sp>
      <p:sp>
        <p:nvSpPr>
          <p:cNvPr id="21" name="Szöveg helye 47">
            <a:extLst>
              <a:ext uri="{FF2B5EF4-FFF2-40B4-BE49-F238E27FC236}">
                <a16:creationId xmlns:a16="http://schemas.microsoft.com/office/drawing/2014/main" id="{A6DF0921-E050-4D00-9446-D144D06BF9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8000" y="2981667"/>
            <a:ext cx="179387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4476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2" name="Szöveg helye 47">
            <a:extLst>
              <a:ext uri="{FF2B5EF4-FFF2-40B4-BE49-F238E27FC236}">
                <a16:creationId xmlns:a16="http://schemas.microsoft.com/office/drawing/2014/main" id="{3C45E502-D120-4376-B0E9-5BE56005D1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26416" y="2976013"/>
            <a:ext cx="157892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447675" indent="904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3" name="Szöveg helye 47">
            <a:extLst>
              <a:ext uri="{FF2B5EF4-FFF2-40B4-BE49-F238E27FC236}">
                <a16:creationId xmlns:a16="http://schemas.microsoft.com/office/drawing/2014/main" id="{F0582358-5AEF-4138-A71C-FE4580F4BBC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3608" y="2981676"/>
            <a:ext cx="1367656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4" name="Szöveg helye 47">
            <a:extLst>
              <a:ext uri="{FF2B5EF4-FFF2-40B4-BE49-F238E27FC236}">
                <a16:creationId xmlns:a16="http://schemas.microsoft.com/office/drawing/2014/main" id="{4957AB2C-8E1F-41C5-AE2A-62595B76AD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60578" y="2976379"/>
            <a:ext cx="1794468" cy="711200"/>
          </a:xfrm>
        </p:spPr>
        <p:txBody>
          <a:bodyPr/>
          <a:lstStyle>
            <a:lvl3pPr marL="285750" indent="-2857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5" name="Szöveg helye 47">
            <a:extLst>
              <a:ext uri="{FF2B5EF4-FFF2-40B4-BE49-F238E27FC236}">
                <a16:creationId xmlns:a16="http://schemas.microsoft.com/office/drawing/2014/main" id="{84FADDFB-071D-4509-BE39-E318183F30A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8000" y="4237853"/>
            <a:ext cx="1405812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6" name="Szöveg helye 47">
            <a:extLst>
              <a:ext uri="{FF2B5EF4-FFF2-40B4-BE49-F238E27FC236}">
                <a16:creationId xmlns:a16="http://schemas.microsoft.com/office/drawing/2014/main" id="{1B7F2DA0-7965-49BC-BC18-043B35C5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44757" y="4239909"/>
            <a:ext cx="1185706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7" name="Szöveg helye 47">
            <a:extLst>
              <a:ext uri="{FF2B5EF4-FFF2-40B4-BE49-F238E27FC236}">
                <a16:creationId xmlns:a16="http://schemas.microsoft.com/office/drawing/2014/main" id="{9685E545-51C8-430F-85B2-5F28049F51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80903" y="4233278"/>
            <a:ext cx="1245388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8" name="Szöveg helye 47">
            <a:extLst>
              <a:ext uri="{FF2B5EF4-FFF2-40B4-BE49-F238E27FC236}">
                <a16:creationId xmlns:a16="http://schemas.microsoft.com/office/drawing/2014/main" id="{B3098247-9AAF-4BCA-AAD8-571D66F3E2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17048" y="4237853"/>
            <a:ext cx="1169045" cy="711200"/>
          </a:xfrm>
        </p:spPr>
        <p:txBody>
          <a:bodyPr/>
          <a:lstStyle>
            <a:lvl3pPr marL="179388" indent="-179388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  <p:sp>
        <p:nvSpPr>
          <p:cNvPr id="29" name="Szöveg helye 47">
            <a:extLst>
              <a:ext uri="{FF2B5EF4-FFF2-40B4-BE49-F238E27FC236}">
                <a16:creationId xmlns:a16="http://schemas.microsoft.com/office/drawing/2014/main" id="{3D44DAB1-0371-45E5-A823-40BC7FCD8F7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3546" y="4233278"/>
            <a:ext cx="1375377" cy="711200"/>
          </a:xfrm>
        </p:spPr>
        <p:txBody>
          <a:bodyPr/>
          <a:lstStyle>
            <a:lvl3pPr marL="266700" indent="-196850">
              <a:lnSpc>
                <a:spcPct val="10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446088" indent="-179388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0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18271524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,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Nyíl: sávnyíl 70">
            <a:extLst>
              <a:ext uri="{FF2B5EF4-FFF2-40B4-BE49-F238E27FC236}">
                <a16:creationId xmlns:a16="http://schemas.microsoft.com/office/drawing/2014/main" id="{E2D5FFBE-20EE-471C-935D-D2AD483C871F}"/>
              </a:ext>
            </a:extLst>
          </p:cNvPr>
          <p:cNvSpPr/>
          <p:nvPr userDrawn="1"/>
        </p:nvSpPr>
        <p:spPr>
          <a:xfrm>
            <a:off x="6338052" y="2388958"/>
            <a:ext cx="1926000" cy="324000"/>
          </a:xfrm>
          <a:prstGeom prst="chevron">
            <a:avLst>
              <a:gd name="adj" fmla="val 2941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70" name="Nyíl: sávnyíl 69">
            <a:extLst>
              <a:ext uri="{FF2B5EF4-FFF2-40B4-BE49-F238E27FC236}">
                <a16:creationId xmlns:a16="http://schemas.microsoft.com/office/drawing/2014/main" id="{5BDFBE2D-6D50-4115-9E3A-DE4D44FA1A64}"/>
              </a:ext>
            </a:extLst>
          </p:cNvPr>
          <p:cNvSpPr/>
          <p:nvPr userDrawn="1"/>
        </p:nvSpPr>
        <p:spPr>
          <a:xfrm>
            <a:off x="6683784" y="3668422"/>
            <a:ext cx="1639158" cy="324000"/>
          </a:xfrm>
          <a:prstGeom prst="chevron">
            <a:avLst>
              <a:gd name="adj" fmla="val 29410"/>
            </a:avLst>
          </a:prstGeom>
          <a:solidFill>
            <a:srgbClr val="E3E000">
              <a:alpha val="5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13" name="Nyíl: sávnyíl 12">
            <a:extLst>
              <a:ext uri="{FF2B5EF4-FFF2-40B4-BE49-F238E27FC236}">
                <a16:creationId xmlns:a16="http://schemas.microsoft.com/office/drawing/2014/main" id="{4FCE91DE-14C9-41A3-87C4-84B0D573C57E}"/>
              </a:ext>
            </a:extLst>
          </p:cNvPr>
          <p:cNvSpPr/>
          <p:nvPr userDrawn="1"/>
        </p:nvSpPr>
        <p:spPr>
          <a:xfrm>
            <a:off x="3136615" y="1171597"/>
            <a:ext cx="2642497" cy="315643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17" name="Nyíl: ötszög 16">
            <a:extLst>
              <a:ext uri="{FF2B5EF4-FFF2-40B4-BE49-F238E27FC236}">
                <a16:creationId xmlns:a16="http://schemas.microsoft.com/office/drawing/2014/main" id="{6B59E2E2-1D94-4502-BBCA-3B69D8EE952D}"/>
              </a:ext>
            </a:extLst>
          </p:cNvPr>
          <p:cNvSpPr/>
          <p:nvPr userDrawn="1"/>
        </p:nvSpPr>
        <p:spPr>
          <a:xfrm>
            <a:off x="386975" y="1161685"/>
            <a:ext cx="2648938" cy="325555"/>
          </a:xfrm>
          <a:prstGeom prst="homePlate">
            <a:avLst>
              <a:gd name="adj" fmla="val 17957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Nyíl: sávnyíl 18">
            <a:extLst>
              <a:ext uri="{FF2B5EF4-FFF2-40B4-BE49-F238E27FC236}">
                <a16:creationId xmlns:a16="http://schemas.microsoft.com/office/drawing/2014/main" id="{6896C1B2-DCB3-4127-905B-66B6D74BA940}"/>
              </a:ext>
            </a:extLst>
          </p:cNvPr>
          <p:cNvSpPr/>
          <p:nvPr userDrawn="1"/>
        </p:nvSpPr>
        <p:spPr>
          <a:xfrm>
            <a:off x="5886000" y="1171597"/>
            <a:ext cx="2436942" cy="315643"/>
          </a:xfrm>
          <a:prstGeom prst="chevron">
            <a:avLst>
              <a:gd name="adj" fmla="val 29410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0" name="Nyíl: ötszög 19">
            <a:extLst>
              <a:ext uri="{FF2B5EF4-FFF2-40B4-BE49-F238E27FC236}">
                <a16:creationId xmlns:a16="http://schemas.microsoft.com/office/drawing/2014/main" id="{9BB892BF-06F3-418F-BFD3-4E06E7410781}"/>
              </a:ext>
            </a:extLst>
          </p:cNvPr>
          <p:cNvSpPr/>
          <p:nvPr userDrawn="1"/>
        </p:nvSpPr>
        <p:spPr>
          <a:xfrm>
            <a:off x="376420" y="2433259"/>
            <a:ext cx="1924561" cy="324000"/>
          </a:xfrm>
          <a:prstGeom prst="homePlate">
            <a:avLst>
              <a:gd name="adj" fmla="val 17957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Nyíl: sávnyíl 20">
            <a:extLst>
              <a:ext uri="{FF2B5EF4-FFF2-40B4-BE49-F238E27FC236}">
                <a16:creationId xmlns:a16="http://schemas.microsoft.com/office/drawing/2014/main" id="{DA89C3C6-6A8D-4978-B6C5-375F00E4FDE3}"/>
              </a:ext>
            </a:extLst>
          </p:cNvPr>
          <p:cNvSpPr/>
          <p:nvPr userDrawn="1"/>
        </p:nvSpPr>
        <p:spPr>
          <a:xfrm>
            <a:off x="2371108" y="2407680"/>
            <a:ext cx="1926000" cy="324000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4" name="Nyíl: ötszög 23">
            <a:extLst>
              <a:ext uri="{FF2B5EF4-FFF2-40B4-BE49-F238E27FC236}">
                <a16:creationId xmlns:a16="http://schemas.microsoft.com/office/drawing/2014/main" id="{D135E8B9-AA39-47F0-A7BC-4CB21CA3EDAE}"/>
              </a:ext>
            </a:extLst>
          </p:cNvPr>
          <p:cNvSpPr/>
          <p:nvPr userDrawn="1"/>
        </p:nvSpPr>
        <p:spPr>
          <a:xfrm>
            <a:off x="376423" y="3711389"/>
            <a:ext cx="1499895" cy="324000"/>
          </a:xfrm>
          <a:prstGeom prst="homePlate">
            <a:avLst>
              <a:gd name="adj" fmla="val 17957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1" name="Nyíl: sávnyíl 30">
            <a:extLst>
              <a:ext uri="{FF2B5EF4-FFF2-40B4-BE49-F238E27FC236}">
                <a16:creationId xmlns:a16="http://schemas.microsoft.com/office/drawing/2014/main" id="{EB370CC8-10D4-4DA9-B97C-DF0EE08C027D}"/>
              </a:ext>
            </a:extLst>
          </p:cNvPr>
          <p:cNvSpPr/>
          <p:nvPr userDrawn="1"/>
        </p:nvSpPr>
        <p:spPr>
          <a:xfrm>
            <a:off x="1952937" y="3705240"/>
            <a:ext cx="1501200" cy="324000"/>
          </a:xfrm>
          <a:prstGeom prst="chevron">
            <a:avLst>
              <a:gd name="adj" fmla="val 294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32" name="Nyíl: sávnyíl 31">
            <a:extLst>
              <a:ext uri="{FF2B5EF4-FFF2-40B4-BE49-F238E27FC236}">
                <a16:creationId xmlns:a16="http://schemas.microsoft.com/office/drawing/2014/main" id="{936420DC-19DE-46C1-BFD3-C49746A03C9C}"/>
              </a:ext>
            </a:extLst>
          </p:cNvPr>
          <p:cNvSpPr/>
          <p:nvPr userDrawn="1"/>
        </p:nvSpPr>
        <p:spPr>
          <a:xfrm>
            <a:off x="3530756" y="3700105"/>
            <a:ext cx="1501200" cy="324000"/>
          </a:xfrm>
          <a:prstGeom prst="chevron">
            <a:avLst>
              <a:gd name="adj" fmla="val 29410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33" name="Nyíl: sávnyíl 32">
            <a:extLst>
              <a:ext uri="{FF2B5EF4-FFF2-40B4-BE49-F238E27FC236}">
                <a16:creationId xmlns:a16="http://schemas.microsoft.com/office/drawing/2014/main" id="{600808D3-6FED-4FA9-B08A-9F876132A6B7}"/>
              </a:ext>
            </a:extLst>
          </p:cNvPr>
          <p:cNvSpPr/>
          <p:nvPr userDrawn="1"/>
        </p:nvSpPr>
        <p:spPr>
          <a:xfrm>
            <a:off x="5107270" y="3684268"/>
            <a:ext cx="1501200" cy="324000"/>
          </a:xfrm>
          <a:prstGeom prst="chevron">
            <a:avLst>
              <a:gd name="adj" fmla="val 29410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35" name="Szöveg helye 34">
            <a:extLst>
              <a:ext uri="{FF2B5EF4-FFF2-40B4-BE49-F238E27FC236}">
                <a16:creationId xmlns:a16="http://schemas.microsoft.com/office/drawing/2014/main" id="{45955429-C931-4082-AD7D-CED90F3776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976" y="1171598"/>
            <a:ext cx="2243138" cy="315642"/>
          </a:xfrm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 </a:t>
            </a:r>
            <a:r>
              <a:rPr lang="hu-HU" dirty="0" err="1"/>
              <a:t>lorem</a:t>
            </a:r>
            <a:endParaRPr lang="hu-HU" dirty="0"/>
          </a:p>
          <a:p>
            <a:pPr lvl="0"/>
            <a:r>
              <a:rPr lang="hu-HU" dirty="0" err="1"/>
              <a:t>Ipsum</a:t>
            </a:r>
            <a:r>
              <a:rPr lang="hu-HU" dirty="0"/>
              <a:t> </a:t>
            </a:r>
            <a:r>
              <a:rPr lang="hu-HU" dirty="0" err="1"/>
              <a:t>amet</a:t>
            </a:r>
            <a:endParaRPr lang="hu-HU" dirty="0"/>
          </a:p>
        </p:txBody>
      </p:sp>
      <p:sp>
        <p:nvSpPr>
          <p:cNvPr id="36" name="Szöveg helye 34">
            <a:extLst>
              <a:ext uri="{FF2B5EF4-FFF2-40B4-BE49-F238E27FC236}">
                <a16:creationId xmlns:a16="http://schemas.microsoft.com/office/drawing/2014/main" id="{8470A95C-54BE-4890-BCCC-2895E900FD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7259" y="1171597"/>
            <a:ext cx="2243138" cy="315643"/>
          </a:xfrm>
        </p:spPr>
        <p:txBody>
          <a:bodyPr lIns="72000" anchor="ctr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Headlne</a:t>
            </a:r>
            <a:r>
              <a:rPr lang="hu-HU" dirty="0"/>
              <a:t> </a:t>
            </a:r>
            <a:r>
              <a:rPr lang="hu-HU" dirty="0" err="1"/>
              <a:t>lorem</a:t>
            </a:r>
            <a:endParaRPr lang="hu-HU" dirty="0"/>
          </a:p>
        </p:txBody>
      </p:sp>
      <p:sp>
        <p:nvSpPr>
          <p:cNvPr id="37" name="Szöveg helye 34">
            <a:extLst>
              <a:ext uri="{FF2B5EF4-FFF2-40B4-BE49-F238E27FC236}">
                <a16:creationId xmlns:a16="http://schemas.microsoft.com/office/drawing/2014/main" id="{6560612C-9648-4C90-84BE-526520B77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9804" y="1171597"/>
            <a:ext cx="2073987" cy="315643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38" name="Szöveg helye 34">
            <a:extLst>
              <a:ext uri="{FF2B5EF4-FFF2-40B4-BE49-F238E27FC236}">
                <a16:creationId xmlns:a16="http://schemas.microsoft.com/office/drawing/2014/main" id="{DBCC309A-0BA6-4FAC-B058-7166F69451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6976" y="2404243"/>
            <a:ext cx="1794467" cy="324000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39" name="Szöveg helye 34">
            <a:extLst>
              <a:ext uri="{FF2B5EF4-FFF2-40B4-BE49-F238E27FC236}">
                <a16:creationId xmlns:a16="http://schemas.microsoft.com/office/drawing/2014/main" id="{F449DF02-2200-4BE2-B7F8-9D8E04FBA6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4199" y="2381906"/>
            <a:ext cx="1669592" cy="324000"/>
          </a:xfrm>
        </p:spPr>
        <p:txBody>
          <a:bodyPr lIns="72000" anchor="ctr"/>
          <a:lstStyle>
            <a:lvl1pPr>
              <a:defRPr>
                <a:solidFill>
                  <a:srgbClr val="C00000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1" name="Szöveg helye 34">
            <a:extLst>
              <a:ext uri="{FF2B5EF4-FFF2-40B4-BE49-F238E27FC236}">
                <a16:creationId xmlns:a16="http://schemas.microsoft.com/office/drawing/2014/main" id="{B65B39FC-1EF5-493A-A6C7-966D70712D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37798" y="2404132"/>
            <a:ext cx="1578921" cy="324000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2" name="Szöveg helye 34">
            <a:extLst>
              <a:ext uri="{FF2B5EF4-FFF2-40B4-BE49-F238E27FC236}">
                <a16:creationId xmlns:a16="http://schemas.microsoft.com/office/drawing/2014/main" id="{6C75DE12-9C81-4BFF-9E1F-3BA9764B61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32568" y="3670747"/>
            <a:ext cx="1321223" cy="324000"/>
          </a:xfrm>
        </p:spPr>
        <p:txBody>
          <a:bodyPr lIns="72000" anchor="ctr"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3" name="Szöveg helye 34">
            <a:extLst>
              <a:ext uri="{FF2B5EF4-FFF2-40B4-BE49-F238E27FC236}">
                <a16:creationId xmlns:a16="http://schemas.microsoft.com/office/drawing/2014/main" id="{923C776F-909D-4437-9F4D-A7B4A6BC9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79273" y="3711389"/>
            <a:ext cx="1169045" cy="324000"/>
          </a:xfrm>
        </p:spPr>
        <p:txBody>
          <a:bodyPr lIns="72000" anchor="ctr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4" name="Szöveg helye 34">
            <a:extLst>
              <a:ext uri="{FF2B5EF4-FFF2-40B4-BE49-F238E27FC236}">
                <a16:creationId xmlns:a16="http://schemas.microsoft.com/office/drawing/2014/main" id="{771D139A-D57B-4298-A409-21DEF90F9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28771" y="3702331"/>
            <a:ext cx="1117813" cy="324000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5" name="Szöveg helye 34">
            <a:extLst>
              <a:ext uri="{FF2B5EF4-FFF2-40B4-BE49-F238E27FC236}">
                <a16:creationId xmlns:a16="http://schemas.microsoft.com/office/drawing/2014/main" id="{78227D49-D707-4C36-BE06-C71BC5C80B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31001" y="3702890"/>
            <a:ext cx="1185706" cy="324000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6" name="Szöveg helye 34">
            <a:extLst>
              <a:ext uri="{FF2B5EF4-FFF2-40B4-BE49-F238E27FC236}">
                <a16:creationId xmlns:a16="http://schemas.microsoft.com/office/drawing/2014/main" id="{BFFF96D3-BC84-4B64-AAF4-54DAC21898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6424" y="3721301"/>
            <a:ext cx="1416362" cy="324000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48" name="Szöveg helye 47">
            <a:extLst>
              <a:ext uri="{FF2B5EF4-FFF2-40B4-BE49-F238E27FC236}">
                <a16:creationId xmlns:a16="http://schemas.microsoft.com/office/drawing/2014/main" id="{2D8AF799-F30D-4281-8CCF-A1903E686A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7997" y="1550323"/>
            <a:ext cx="1793875" cy="711200"/>
          </a:xfrm>
        </p:spPr>
        <p:txBody>
          <a:bodyPr/>
          <a:lstStyle>
            <a:lvl3pPr marL="0" indent="17780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7800" indent="182563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49" name="Szöveg helye 47">
            <a:extLst>
              <a:ext uri="{FF2B5EF4-FFF2-40B4-BE49-F238E27FC236}">
                <a16:creationId xmlns:a16="http://schemas.microsoft.com/office/drawing/2014/main" id="{FCCEE6AF-CD74-4711-AF5A-0D6B37E9B2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45633" y="1516729"/>
            <a:ext cx="1793875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269875" indent="-17780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269875" indent="176213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2"/>
            <a:endParaRPr lang="hu-HU" dirty="0"/>
          </a:p>
        </p:txBody>
      </p:sp>
      <p:sp>
        <p:nvSpPr>
          <p:cNvPr id="50" name="Szöveg helye 47">
            <a:extLst>
              <a:ext uri="{FF2B5EF4-FFF2-40B4-BE49-F238E27FC236}">
                <a16:creationId xmlns:a16="http://schemas.microsoft.com/office/drawing/2014/main" id="{3C187DB3-C139-4D2E-B83F-3AEE4D204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87577" y="1515897"/>
            <a:ext cx="1793875" cy="711200"/>
          </a:xfrm>
        </p:spPr>
        <p:txBody>
          <a:bodyPr/>
          <a:lstStyle>
            <a:lvl3pPr marL="85725" indent="180975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358775" indent="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2"/>
            <a:endParaRPr lang="hu-HU" dirty="0"/>
          </a:p>
        </p:txBody>
      </p:sp>
      <p:sp>
        <p:nvSpPr>
          <p:cNvPr id="51" name="Szöveg helye 47">
            <a:extLst>
              <a:ext uri="{FF2B5EF4-FFF2-40B4-BE49-F238E27FC236}">
                <a16:creationId xmlns:a16="http://schemas.microsoft.com/office/drawing/2014/main" id="{FA1755E0-AE30-4D49-AC11-5E82C031E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5673" y="2760693"/>
            <a:ext cx="1793875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447675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2" name="Szöveg helye 47">
            <a:extLst>
              <a:ext uri="{FF2B5EF4-FFF2-40B4-BE49-F238E27FC236}">
                <a16:creationId xmlns:a16="http://schemas.microsoft.com/office/drawing/2014/main" id="{A0FD1E0F-F750-4EC5-9654-B5B6E8643D9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44492" y="2771460"/>
            <a:ext cx="1793875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179388" indent="180975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447675" indent="904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3" name="Szöveg helye 47">
            <a:extLst>
              <a:ext uri="{FF2B5EF4-FFF2-40B4-BE49-F238E27FC236}">
                <a16:creationId xmlns:a16="http://schemas.microsoft.com/office/drawing/2014/main" id="{4D590CB8-5D20-41C9-845C-5AB81CE5B60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5719" y="2771460"/>
            <a:ext cx="1793875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4" name="Szöveg helye 47">
            <a:extLst>
              <a:ext uri="{FF2B5EF4-FFF2-40B4-BE49-F238E27FC236}">
                <a16:creationId xmlns:a16="http://schemas.microsoft.com/office/drawing/2014/main" id="{52310B3A-E91B-4BED-83C5-1A347C3B414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66946" y="2766163"/>
            <a:ext cx="1793875" cy="711200"/>
          </a:xfrm>
        </p:spPr>
        <p:txBody>
          <a:bodyPr/>
          <a:lstStyle>
            <a:lvl3pPr marL="285750" indent="-28575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5" name="Szöveg helye 47">
            <a:extLst>
              <a:ext uri="{FF2B5EF4-FFF2-40B4-BE49-F238E27FC236}">
                <a16:creationId xmlns:a16="http://schemas.microsoft.com/office/drawing/2014/main" id="{65643EE4-BCD5-41BB-B089-6F0587E3BD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3276" y="4031589"/>
            <a:ext cx="1405812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7" name="Szöveg helye 47">
            <a:extLst>
              <a:ext uri="{FF2B5EF4-FFF2-40B4-BE49-F238E27FC236}">
                <a16:creationId xmlns:a16="http://schemas.microsoft.com/office/drawing/2014/main" id="{7BB6C868-A581-4C4B-8FB8-DF58E7C7464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54514" y="4036164"/>
            <a:ext cx="1405812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8" name="Szöveg helye 47">
            <a:extLst>
              <a:ext uri="{FF2B5EF4-FFF2-40B4-BE49-F238E27FC236}">
                <a16:creationId xmlns:a16="http://schemas.microsoft.com/office/drawing/2014/main" id="{E71C2F8F-88BF-42C0-9ECF-6789B85E7E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533696" y="4036164"/>
            <a:ext cx="1405812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5600" indent="-17780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539750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59" name="Szöveg helye 47">
            <a:extLst>
              <a:ext uri="{FF2B5EF4-FFF2-40B4-BE49-F238E27FC236}">
                <a16:creationId xmlns:a16="http://schemas.microsoft.com/office/drawing/2014/main" id="{0E266E89-FA87-4ED1-94C7-A3A53126A4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09254" y="4031589"/>
            <a:ext cx="1405812" cy="711200"/>
          </a:xfrm>
        </p:spPr>
        <p:txBody>
          <a:bodyPr/>
          <a:lstStyle>
            <a:lvl3pPr marL="1793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358775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538163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60" name="Szöveg helye 47">
            <a:extLst>
              <a:ext uri="{FF2B5EF4-FFF2-40B4-BE49-F238E27FC236}">
                <a16:creationId xmlns:a16="http://schemas.microsoft.com/office/drawing/2014/main" id="{CCEFC88C-5AAC-4071-B2AD-D66821A5274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55009" y="4036164"/>
            <a:ext cx="1405812" cy="711200"/>
          </a:xfrm>
        </p:spPr>
        <p:txBody>
          <a:bodyPr/>
          <a:lstStyle>
            <a:lvl3pPr marL="266700" indent="-196850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3pPr>
            <a:lvl4pPr marL="446088" indent="-179388">
              <a:lnSpc>
                <a:spcPct val="150000"/>
              </a:lnSpc>
              <a:spcAft>
                <a:spcPts val="0"/>
              </a:spcAft>
              <a:buClr>
                <a:srgbClr val="EA1C0A"/>
              </a:buClr>
              <a:buFont typeface="Arial" panose="020B0604020202020204" pitchFamily="34" charset="0"/>
              <a:buChar char="•"/>
              <a:defRPr sz="1100"/>
            </a:lvl4pPr>
            <a:lvl5pPr marL="625475" indent="-179388">
              <a:lnSpc>
                <a:spcPct val="150000"/>
              </a:lnSpc>
              <a:spcAft>
                <a:spcPts val="0"/>
              </a:spcAft>
              <a:buFont typeface="EON Brix Sans" panose="020B0504040000000000" pitchFamily="34" charset="-18"/>
              <a:buChar char="−"/>
              <a:defRPr sz="1100"/>
            </a:lvl5pPr>
          </a:lstStyle>
          <a:p>
            <a:pPr lvl="2"/>
            <a:r>
              <a:rPr lang="hu-HU" dirty="0"/>
              <a:t>Level1 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2</a:t>
            </a:r>
          </a:p>
        </p:txBody>
      </p:sp>
      <p:sp>
        <p:nvSpPr>
          <p:cNvPr id="65" name="Fußzeilenplatzhalter 6">
            <a:extLst>
              <a:ext uri="{FF2B5EF4-FFF2-40B4-BE49-F238E27FC236}">
                <a16:creationId xmlns:a16="http://schemas.microsoft.com/office/drawing/2014/main" id="{0816E134-D4F2-46B4-86EF-2C1F275F8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47" name="Line 20">
            <a:extLst>
              <a:ext uri="{FF2B5EF4-FFF2-40B4-BE49-F238E27FC236}">
                <a16:creationId xmlns:a16="http://schemas.microsoft.com/office/drawing/2014/main" id="{8C2C641D-BC36-4D1D-BDE4-4381E59B9FB3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652088" y="4043877"/>
            <a:ext cx="0" cy="57179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56" name="Line 21">
            <a:extLst>
              <a:ext uri="{FF2B5EF4-FFF2-40B4-BE49-F238E27FC236}">
                <a16:creationId xmlns:a16="http://schemas.microsoft.com/office/drawing/2014/main" id="{164E9D38-84E3-40E9-BAB1-88CCCBE779C0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5033533" y="4038622"/>
            <a:ext cx="0" cy="57179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1" name="Line 22">
            <a:extLst>
              <a:ext uri="{FF2B5EF4-FFF2-40B4-BE49-F238E27FC236}">
                <a16:creationId xmlns:a16="http://schemas.microsoft.com/office/drawing/2014/main" id="{33417135-4A56-433C-BA83-61DF35A9E410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3455714" y="4031589"/>
            <a:ext cx="0" cy="57179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3" name="Line 23">
            <a:extLst>
              <a:ext uri="{FF2B5EF4-FFF2-40B4-BE49-F238E27FC236}">
                <a16:creationId xmlns:a16="http://schemas.microsoft.com/office/drawing/2014/main" id="{F1B199B3-37DA-4EF6-B2C9-FE042AE0D7CB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1877895" y="4036164"/>
            <a:ext cx="0" cy="57179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4" name="Line 37">
            <a:extLst>
              <a:ext uri="{FF2B5EF4-FFF2-40B4-BE49-F238E27FC236}">
                <a16:creationId xmlns:a16="http://schemas.microsoft.com/office/drawing/2014/main" id="{1F065C77-EF10-48AF-BA1F-FCCB45B9BDE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256067" y="2776035"/>
            <a:ext cx="0" cy="571797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6" name="Line 38">
            <a:extLst>
              <a:ext uri="{FF2B5EF4-FFF2-40B4-BE49-F238E27FC236}">
                <a16:creationId xmlns:a16="http://schemas.microsoft.com/office/drawing/2014/main" id="{1E23A616-0509-4B6C-969D-3920C5D8790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65074" y="2770737"/>
            <a:ext cx="0" cy="571797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7" name="Line 39">
            <a:extLst>
              <a:ext uri="{FF2B5EF4-FFF2-40B4-BE49-F238E27FC236}">
                <a16:creationId xmlns:a16="http://schemas.microsoft.com/office/drawing/2014/main" id="{B7111FA9-A1A4-4321-8A33-0B7F754CEC6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263812" y="2770738"/>
            <a:ext cx="0" cy="571797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8" name="Line 50">
            <a:extLst>
              <a:ext uri="{FF2B5EF4-FFF2-40B4-BE49-F238E27FC236}">
                <a16:creationId xmlns:a16="http://schemas.microsoft.com/office/drawing/2014/main" id="{DE919E1C-3C39-49CB-85BC-31673C18E40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787728" y="1521576"/>
            <a:ext cx="0" cy="599187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9" name="Line 51">
            <a:extLst>
              <a:ext uri="{FF2B5EF4-FFF2-40B4-BE49-F238E27FC236}">
                <a16:creationId xmlns:a16="http://schemas.microsoft.com/office/drawing/2014/main" id="{58E6C158-5155-48D7-98F7-AFABB2F0A47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037490" y="1520472"/>
            <a:ext cx="0" cy="599187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72" name="Cím 1">
            <a:extLst>
              <a:ext uri="{FF2B5EF4-FFF2-40B4-BE49-F238E27FC236}">
                <a16:creationId xmlns:a16="http://schemas.microsoft.com/office/drawing/2014/main" id="{621D5D98-F8E0-41E2-874E-84217886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 err="1"/>
              <a:t>Phases</a:t>
            </a:r>
            <a:r>
              <a:rPr lang="hu-HU" dirty="0"/>
              <a:t>, </a:t>
            </a:r>
            <a:r>
              <a:rPr lang="hu-HU" dirty="0" err="1"/>
              <a:t>process</a:t>
            </a:r>
            <a:endParaRPr lang="hu-HU" dirty="0"/>
          </a:p>
        </p:txBody>
      </p:sp>
      <p:sp>
        <p:nvSpPr>
          <p:cNvPr id="73" name="Nyíl: sávnyíl 72">
            <a:extLst>
              <a:ext uri="{FF2B5EF4-FFF2-40B4-BE49-F238E27FC236}">
                <a16:creationId xmlns:a16="http://schemas.microsoft.com/office/drawing/2014/main" id="{495E1398-853D-4F47-8308-3545C86CE3A6}"/>
              </a:ext>
            </a:extLst>
          </p:cNvPr>
          <p:cNvSpPr/>
          <p:nvPr userDrawn="1"/>
        </p:nvSpPr>
        <p:spPr>
          <a:xfrm>
            <a:off x="4326825" y="2387107"/>
            <a:ext cx="1926000" cy="324000"/>
          </a:xfrm>
          <a:prstGeom prst="chevron">
            <a:avLst>
              <a:gd name="adj" fmla="val 29410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74" name="Szöveg helye 34">
            <a:extLst>
              <a:ext uri="{FF2B5EF4-FFF2-40B4-BE49-F238E27FC236}">
                <a16:creationId xmlns:a16="http://schemas.microsoft.com/office/drawing/2014/main" id="{DDFC7FC9-9CD2-4C2F-AC17-8DCC6511FB1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29710" y="2388825"/>
            <a:ext cx="1578921" cy="324000"/>
          </a:xfrm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62" name="Dia számának helye 4">
            <a:extLst>
              <a:ext uri="{FF2B5EF4-FFF2-40B4-BE49-F238E27FC236}">
                <a16:creationId xmlns:a16="http://schemas.microsoft.com/office/drawing/2014/main" id="{0D8DD913-FA25-4F02-AB53-384F4744E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31301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n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5ED0C66-C2BD-44E3-881A-4483CBD36FDB}"/>
              </a:ext>
            </a:extLst>
          </p:cNvPr>
          <p:cNvSpPr/>
          <p:nvPr userDrawn="1"/>
        </p:nvSpPr>
        <p:spPr>
          <a:xfrm>
            <a:off x="378000" y="2096814"/>
            <a:ext cx="8219104" cy="1870844"/>
          </a:xfrm>
          <a:prstGeom prst="rect">
            <a:avLst/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D1D02CBE-7C0D-451B-B220-8EFF18206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err="1"/>
              <a:t>Funnel</a:t>
            </a:r>
            <a:endParaRPr lang="hu-HU" dirty="0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0F8E8F56-A0CF-49BE-8E7A-42DC90FD1E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Háromszög 5">
            <a:extLst>
              <a:ext uri="{FF2B5EF4-FFF2-40B4-BE49-F238E27FC236}">
                <a16:creationId xmlns:a16="http://schemas.microsoft.com/office/drawing/2014/main" id="{488E6AC9-52AE-46FF-A0AB-50E0EE5BBB4E}"/>
              </a:ext>
            </a:extLst>
          </p:cNvPr>
          <p:cNvSpPr/>
          <p:nvPr userDrawn="1"/>
        </p:nvSpPr>
        <p:spPr>
          <a:xfrm rot="5400000">
            <a:off x="2657618" y="-195941"/>
            <a:ext cx="1883980" cy="6443217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Line 39">
            <a:extLst>
              <a:ext uri="{FF2B5EF4-FFF2-40B4-BE49-F238E27FC236}">
                <a16:creationId xmlns:a16="http://schemas.microsoft.com/office/drawing/2014/main" id="{52DD1F2B-AA9F-4346-9C20-49DE70DA96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420332" y="1588600"/>
            <a:ext cx="0" cy="21960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11" name="Line 39">
            <a:extLst>
              <a:ext uri="{FF2B5EF4-FFF2-40B4-BE49-F238E27FC236}">
                <a16:creationId xmlns:a16="http://schemas.microsoft.com/office/drawing/2014/main" id="{302AFF58-E0E9-419C-AA3C-DDDBC13E62B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475107" y="1588600"/>
            <a:ext cx="0" cy="21960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12" name="Line 39">
            <a:extLst>
              <a:ext uri="{FF2B5EF4-FFF2-40B4-BE49-F238E27FC236}">
                <a16:creationId xmlns:a16="http://schemas.microsoft.com/office/drawing/2014/main" id="{BEA4C1C0-13F2-4798-960A-5BA7C11318E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524618" y="1588600"/>
            <a:ext cx="0" cy="21960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14" name="Szöveg helye 3">
            <a:extLst>
              <a:ext uri="{FF2B5EF4-FFF2-40B4-BE49-F238E27FC236}">
                <a16:creationId xmlns:a16="http://schemas.microsoft.com/office/drawing/2014/main" id="{3991BE49-C38B-4587-B2C9-27BC7B7EC7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8000" y="3969829"/>
            <a:ext cx="8219104" cy="244819"/>
          </a:xfrm>
          <a:solidFill>
            <a:srgbClr val="5CC1CB"/>
          </a:solidFill>
        </p:spPr>
        <p:txBody>
          <a:bodyPr anchor="ctr"/>
          <a:lstStyle>
            <a:lvl1pPr marL="0" indent="177800"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15" name="Szöveg helye 3">
            <a:extLst>
              <a:ext uri="{FF2B5EF4-FFF2-40B4-BE49-F238E27FC236}">
                <a16:creationId xmlns:a16="http://schemas.microsoft.com/office/drawing/2014/main" id="{114D1041-C671-44B8-8B0C-FAAE367763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8000" y="4214648"/>
            <a:ext cx="8219104" cy="244819"/>
          </a:xfrm>
          <a:solidFill>
            <a:srgbClr val="E3E000"/>
          </a:solidFill>
        </p:spPr>
        <p:txBody>
          <a:bodyPr anchor="ctr"/>
          <a:lstStyle>
            <a:lvl1pPr marL="0" indent="177800" algn="ctr">
              <a:defRPr>
                <a:solidFill>
                  <a:srgbClr val="B00402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16" name="Szöveg helye 34">
            <a:extLst>
              <a:ext uri="{FF2B5EF4-FFF2-40B4-BE49-F238E27FC236}">
                <a16:creationId xmlns:a16="http://schemas.microsoft.com/office/drawing/2014/main" id="{9141DEA2-993D-4DFF-87FB-4AFD9D77CA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000" y="1588600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7" name="Szöveg helye 34">
            <a:extLst>
              <a:ext uri="{FF2B5EF4-FFF2-40B4-BE49-F238E27FC236}">
                <a16:creationId xmlns:a16="http://schemas.microsoft.com/office/drawing/2014/main" id="{3E8E3EFD-8614-473C-92C1-33AB5D7DCCC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20331" y="1586429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8" name="Szöveg helye 34">
            <a:extLst>
              <a:ext uri="{FF2B5EF4-FFF2-40B4-BE49-F238E27FC236}">
                <a16:creationId xmlns:a16="http://schemas.microsoft.com/office/drawing/2014/main" id="{6B591011-2157-47C7-AEAE-AE7576EAB3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87552" y="1582031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19" name="Szöveg helye 34">
            <a:extLst>
              <a:ext uri="{FF2B5EF4-FFF2-40B4-BE49-F238E27FC236}">
                <a16:creationId xmlns:a16="http://schemas.microsoft.com/office/drawing/2014/main" id="{66810850-92AF-4605-A000-C6398871AD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42327" y="1586429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0" name="Szöveg helye 3">
            <a:extLst>
              <a:ext uri="{FF2B5EF4-FFF2-40B4-BE49-F238E27FC236}">
                <a16:creationId xmlns:a16="http://schemas.microsoft.com/office/drawing/2014/main" id="{0B0504D7-C59D-4446-8D30-6A65534501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8000" y="1331557"/>
            <a:ext cx="4109552" cy="237337"/>
          </a:xfrm>
          <a:solidFill>
            <a:srgbClr val="B00402"/>
          </a:solidFill>
        </p:spPr>
        <p:txBody>
          <a:bodyPr anchor="ctr"/>
          <a:lstStyle>
            <a:lvl1pPr marL="0" indent="177800"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1" name="Szöveg helye 3">
            <a:extLst>
              <a:ext uri="{FF2B5EF4-FFF2-40B4-BE49-F238E27FC236}">
                <a16:creationId xmlns:a16="http://schemas.microsoft.com/office/drawing/2014/main" id="{08E114BD-FD91-47FF-A067-B1BD731F3B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87551" y="1336383"/>
            <a:ext cx="4109552" cy="237337"/>
          </a:xfrm>
          <a:solidFill>
            <a:srgbClr val="5CC1CB"/>
          </a:solidFill>
        </p:spPr>
        <p:txBody>
          <a:bodyPr anchor="ctr"/>
          <a:lstStyle>
            <a:lvl1pPr marL="0" indent="177800"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2" name="Szöveg helye 34">
            <a:extLst>
              <a:ext uri="{FF2B5EF4-FFF2-40B4-BE49-F238E27FC236}">
                <a16:creationId xmlns:a16="http://schemas.microsoft.com/office/drawing/2014/main" id="{9E2D9961-7AF6-464B-ACA7-0B5376A1446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265" y="2775956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3" name="Szöveg helye 34">
            <a:extLst>
              <a:ext uri="{FF2B5EF4-FFF2-40B4-BE49-F238E27FC236}">
                <a16:creationId xmlns:a16="http://schemas.microsoft.com/office/drawing/2014/main" id="{58595BEE-A98E-4AC7-9519-E1113BA2276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436365" y="2775957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5" name="Szöveg helye 34">
            <a:extLst>
              <a:ext uri="{FF2B5EF4-FFF2-40B4-BE49-F238E27FC236}">
                <a16:creationId xmlns:a16="http://schemas.microsoft.com/office/drawing/2014/main" id="{7243F745-1186-4677-AB8A-0978FCD6E33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82286" y="2778128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6" name="Szöveg helye 34">
            <a:extLst>
              <a:ext uri="{FF2B5EF4-FFF2-40B4-BE49-F238E27FC236}">
                <a16:creationId xmlns:a16="http://schemas.microsoft.com/office/drawing/2014/main" id="{26023BA6-E84D-41FF-9D23-CB668877192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1029" y="2778128"/>
            <a:ext cx="2042332" cy="495077"/>
          </a:xfrm>
        </p:spPr>
        <p:txBody>
          <a:bodyPr lIns="72000"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0617F3E1-E734-45F4-84A8-30AE52196B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43448" y="750633"/>
            <a:ext cx="4109552" cy="574355"/>
          </a:xfrm>
          <a:noFill/>
        </p:spPr>
        <p:txBody>
          <a:bodyPr anchor="ctr"/>
          <a:lstStyle>
            <a:lvl1pPr marL="0" indent="177800" algn="ctr">
              <a:defRPr sz="20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Minta 0</a:t>
            </a:r>
          </a:p>
        </p:txBody>
      </p:sp>
      <p:sp>
        <p:nvSpPr>
          <p:cNvPr id="24" name="Dátum helye 2">
            <a:extLst>
              <a:ext uri="{FF2B5EF4-FFF2-40B4-BE49-F238E27FC236}">
                <a16:creationId xmlns:a16="http://schemas.microsoft.com/office/drawing/2014/main" id="{B58F2CA1-3644-4321-AD33-160E46B149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CD9BD96A-CD3A-471B-AE1C-81C5FD700991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8" name="Dia számának helye 4">
            <a:extLst>
              <a:ext uri="{FF2B5EF4-FFF2-40B4-BE49-F238E27FC236}">
                <a16:creationId xmlns:a16="http://schemas.microsoft.com/office/drawing/2014/main" id="{CF7DED2D-F51A-4875-B970-98FC45AD6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069075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artalom helye 15">
            <a:extLst>
              <a:ext uri="{FF2B5EF4-FFF2-40B4-BE49-F238E27FC236}">
                <a16:creationId xmlns:a16="http://schemas.microsoft.com/office/drawing/2014/main" id="{CDF79A03-72F0-417B-B1ED-5C010E1B74E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1808018"/>
            <a:ext cx="9143999" cy="3335482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12" name="Nyíl: ötszög 11">
            <a:extLst>
              <a:ext uri="{FF2B5EF4-FFF2-40B4-BE49-F238E27FC236}">
                <a16:creationId xmlns:a16="http://schemas.microsoft.com/office/drawing/2014/main" id="{0295FFBA-5507-4558-BC9C-07A1B8D25BDC}"/>
              </a:ext>
            </a:extLst>
          </p:cNvPr>
          <p:cNvSpPr/>
          <p:nvPr userDrawn="1"/>
        </p:nvSpPr>
        <p:spPr>
          <a:xfrm>
            <a:off x="4409103" y="1808018"/>
            <a:ext cx="3264505" cy="3335482"/>
          </a:xfrm>
          <a:prstGeom prst="homePlate">
            <a:avLst>
              <a:gd name="adj" fmla="val 21342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8" name="Nyíl: ötszög 17">
            <a:extLst>
              <a:ext uri="{FF2B5EF4-FFF2-40B4-BE49-F238E27FC236}">
                <a16:creationId xmlns:a16="http://schemas.microsoft.com/office/drawing/2014/main" id="{00EFAFF5-21A8-4CEA-A5BE-96553F98A02F}"/>
              </a:ext>
            </a:extLst>
          </p:cNvPr>
          <p:cNvSpPr/>
          <p:nvPr userDrawn="1"/>
        </p:nvSpPr>
        <p:spPr>
          <a:xfrm>
            <a:off x="1950026" y="1808018"/>
            <a:ext cx="3274460" cy="3335482"/>
          </a:xfrm>
          <a:prstGeom prst="homePlate">
            <a:avLst>
              <a:gd name="adj" fmla="val 21342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A5587782-6CB4-431D-8E51-08B0BDEB166B}"/>
              </a:ext>
            </a:extLst>
          </p:cNvPr>
          <p:cNvSpPr/>
          <p:nvPr userDrawn="1"/>
        </p:nvSpPr>
        <p:spPr>
          <a:xfrm>
            <a:off x="0" y="1808018"/>
            <a:ext cx="2692655" cy="3335482"/>
          </a:xfrm>
          <a:prstGeom prst="homePlate">
            <a:avLst>
              <a:gd name="adj" fmla="val 21342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Szöveg helye 20">
            <a:extLst>
              <a:ext uri="{FF2B5EF4-FFF2-40B4-BE49-F238E27FC236}">
                <a16:creationId xmlns:a16="http://schemas.microsoft.com/office/drawing/2014/main" id="{4765C32A-972C-4AC9-A891-896C2135AC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248" y="1808018"/>
            <a:ext cx="1876425" cy="2005445"/>
          </a:xfrm>
        </p:spPr>
        <p:txBody>
          <a:bodyPr lIns="180000" tIns="36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 marL="358775" indent="-179388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</p:txBody>
      </p:sp>
      <p:sp>
        <p:nvSpPr>
          <p:cNvPr id="22" name="Szöveg helye 20">
            <a:extLst>
              <a:ext uri="{FF2B5EF4-FFF2-40B4-BE49-F238E27FC236}">
                <a16:creationId xmlns:a16="http://schemas.microsoft.com/office/drawing/2014/main" id="{F5224206-5762-4C5B-8CC5-D1FBE50926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3142" y="1817881"/>
            <a:ext cx="1876425" cy="2005446"/>
          </a:xfrm>
        </p:spPr>
        <p:txBody>
          <a:bodyPr tIns="36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 marL="465137" indent="-285750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3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  <a:p>
            <a:pPr lvl="0"/>
            <a:endParaRPr lang="hu-HU" dirty="0"/>
          </a:p>
        </p:txBody>
      </p:sp>
      <p:sp>
        <p:nvSpPr>
          <p:cNvPr id="13" name="Szöveg helye 20">
            <a:extLst>
              <a:ext uri="{FF2B5EF4-FFF2-40B4-BE49-F238E27FC236}">
                <a16:creationId xmlns:a16="http://schemas.microsoft.com/office/drawing/2014/main" id="{6A75D1B9-DDE6-496D-ACCA-3768FC4C2F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6701" y="1817881"/>
            <a:ext cx="1876425" cy="2005445"/>
          </a:xfrm>
        </p:spPr>
        <p:txBody>
          <a:bodyPr tIns="36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 marL="358775" indent="-179388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2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 err="1"/>
              <a:t>Level</a:t>
            </a:r>
            <a:r>
              <a:rPr lang="hu-HU" dirty="0"/>
              <a:t> 2</a:t>
            </a:r>
          </a:p>
          <a:p>
            <a:pPr lvl="3"/>
            <a:r>
              <a:rPr lang="hu-HU" dirty="0" err="1"/>
              <a:t>Level</a:t>
            </a:r>
            <a:r>
              <a:rPr lang="hu-HU" dirty="0"/>
              <a:t> 3</a:t>
            </a:r>
          </a:p>
          <a:p>
            <a:pPr lvl="4"/>
            <a:r>
              <a:rPr lang="hu-HU" dirty="0" err="1"/>
              <a:t>Level</a:t>
            </a:r>
            <a:r>
              <a:rPr lang="hu-HU" dirty="0"/>
              <a:t> 4</a:t>
            </a:r>
          </a:p>
          <a:p>
            <a:pPr lvl="0"/>
            <a:endParaRPr lang="hu-HU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EB385766-FDA7-4889-9EE8-9C87AF7277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71588" y="4447602"/>
            <a:ext cx="670157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20" name="Szöveg helye 3">
            <a:extLst>
              <a:ext uri="{FF2B5EF4-FFF2-40B4-BE49-F238E27FC236}">
                <a16:creationId xmlns:a16="http://schemas.microsoft.com/office/drawing/2014/main" id="{F517A9AA-E810-40EC-8B30-73FF1ECFE3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4036" y="4443643"/>
            <a:ext cx="670157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24" name="Szöveg helye 3">
            <a:extLst>
              <a:ext uri="{FF2B5EF4-FFF2-40B4-BE49-F238E27FC236}">
                <a16:creationId xmlns:a16="http://schemas.microsoft.com/office/drawing/2014/main" id="{2B82ABA5-0583-49E5-B005-5F6AA36E51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2081" y="4443643"/>
            <a:ext cx="670157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52E66D04-6225-47D4-8B76-017218D0D66C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3 </a:t>
            </a:r>
            <a:r>
              <a:rPr lang="hu-HU" dirty="0" err="1"/>
              <a:t>Phases</a:t>
            </a:r>
            <a:endParaRPr lang="en-GB" dirty="0"/>
          </a:p>
        </p:txBody>
      </p:sp>
      <p:sp>
        <p:nvSpPr>
          <p:cNvPr id="28" name="Fußzeilenplatzhalter 6">
            <a:extLst>
              <a:ext uri="{FF2B5EF4-FFF2-40B4-BE49-F238E27FC236}">
                <a16:creationId xmlns:a16="http://schemas.microsoft.com/office/drawing/2014/main" id="{BF2F1925-7A30-48DF-8251-F473B9E9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17" name="Dátum helye 2">
            <a:extLst>
              <a:ext uri="{FF2B5EF4-FFF2-40B4-BE49-F238E27FC236}">
                <a16:creationId xmlns:a16="http://schemas.microsoft.com/office/drawing/2014/main" id="{BEF849DB-32B4-49E5-ADEC-CCBE84C69F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5D62189C-6976-4A84-99AB-92BC1587AEE7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3" name="Dia számának helye 4">
            <a:extLst>
              <a:ext uri="{FF2B5EF4-FFF2-40B4-BE49-F238E27FC236}">
                <a16:creationId xmlns:a16="http://schemas.microsoft.com/office/drawing/2014/main" id="{2073D2E5-5B1B-4519-9436-FE81B462592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200609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Nyíl: ötszög 32">
            <a:extLst>
              <a:ext uri="{FF2B5EF4-FFF2-40B4-BE49-F238E27FC236}">
                <a16:creationId xmlns:a16="http://schemas.microsoft.com/office/drawing/2014/main" id="{49C83B35-A8F4-43A5-8D1B-DCC4E3F75603}"/>
              </a:ext>
            </a:extLst>
          </p:cNvPr>
          <p:cNvSpPr/>
          <p:nvPr userDrawn="1"/>
        </p:nvSpPr>
        <p:spPr>
          <a:xfrm>
            <a:off x="5615821" y="1808018"/>
            <a:ext cx="2387065" cy="3335482"/>
          </a:xfrm>
          <a:prstGeom prst="homePlate">
            <a:avLst>
              <a:gd name="adj" fmla="val 21342"/>
            </a:avLst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4" name="Szöveg helye 20">
            <a:extLst>
              <a:ext uri="{FF2B5EF4-FFF2-40B4-BE49-F238E27FC236}">
                <a16:creationId xmlns:a16="http://schemas.microsoft.com/office/drawing/2014/main" id="{EC99CBC4-6B28-4E72-906C-4B56ED48F9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38701" y="1800137"/>
            <a:ext cx="1876425" cy="765265"/>
          </a:xfrm>
          <a:noFill/>
        </p:spPr>
        <p:txBody>
          <a:bodyPr lIns="180000" tIns="36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 marL="358775" indent="-179388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4</a:t>
            </a:r>
          </a:p>
        </p:txBody>
      </p:sp>
      <p:sp>
        <p:nvSpPr>
          <p:cNvPr id="35" name="Szöveg helye 3">
            <a:extLst>
              <a:ext uri="{FF2B5EF4-FFF2-40B4-BE49-F238E27FC236}">
                <a16:creationId xmlns:a16="http://schemas.microsoft.com/office/drawing/2014/main" id="{91AEF692-986F-4384-BFEE-78D1C1B6C5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5785" y="3814193"/>
            <a:ext cx="670157" cy="247650"/>
          </a:xfrm>
          <a:solidFill>
            <a:srgbClr val="EA1C0A"/>
          </a:solidFill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30" name="Nyíl: ötszög 29">
            <a:extLst>
              <a:ext uri="{FF2B5EF4-FFF2-40B4-BE49-F238E27FC236}">
                <a16:creationId xmlns:a16="http://schemas.microsoft.com/office/drawing/2014/main" id="{4D288B3E-8255-4193-8084-3FCC8C410D97}"/>
              </a:ext>
            </a:extLst>
          </p:cNvPr>
          <p:cNvSpPr/>
          <p:nvPr userDrawn="1"/>
        </p:nvSpPr>
        <p:spPr>
          <a:xfrm>
            <a:off x="3737470" y="1815899"/>
            <a:ext cx="2387065" cy="3335482"/>
          </a:xfrm>
          <a:prstGeom prst="homePlate">
            <a:avLst>
              <a:gd name="adj" fmla="val 21342"/>
            </a:avLst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1" name="Szöveg helye 20">
            <a:extLst>
              <a:ext uri="{FF2B5EF4-FFF2-40B4-BE49-F238E27FC236}">
                <a16:creationId xmlns:a16="http://schemas.microsoft.com/office/drawing/2014/main" id="{985F8018-DBF5-470D-A2C6-91A85E041A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2603" y="1809878"/>
            <a:ext cx="1583972" cy="755524"/>
          </a:xfrm>
          <a:noFill/>
        </p:spPr>
        <p:txBody>
          <a:bodyPr lIns="180000" tIns="36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 marL="358775" indent="-179388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3</a:t>
            </a:r>
          </a:p>
        </p:txBody>
      </p:sp>
      <p:sp>
        <p:nvSpPr>
          <p:cNvPr id="32" name="Szöveg helye 3">
            <a:extLst>
              <a:ext uri="{FF2B5EF4-FFF2-40B4-BE49-F238E27FC236}">
                <a16:creationId xmlns:a16="http://schemas.microsoft.com/office/drawing/2014/main" id="{AFC8AC16-E538-4E29-A93E-B5833709FD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15343" y="3814193"/>
            <a:ext cx="670157" cy="247650"/>
          </a:xfrm>
          <a:solidFill>
            <a:srgbClr val="B00402"/>
          </a:solidFill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17" name="Nyíl: ötszög 16">
            <a:extLst>
              <a:ext uri="{FF2B5EF4-FFF2-40B4-BE49-F238E27FC236}">
                <a16:creationId xmlns:a16="http://schemas.microsoft.com/office/drawing/2014/main" id="{49712C7E-6EEA-4F5A-855C-82E0F4CE6DAD}"/>
              </a:ext>
            </a:extLst>
          </p:cNvPr>
          <p:cNvSpPr/>
          <p:nvPr userDrawn="1"/>
        </p:nvSpPr>
        <p:spPr>
          <a:xfrm>
            <a:off x="1876425" y="1808018"/>
            <a:ext cx="2387065" cy="3335482"/>
          </a:xfrm>
          <a:prstGeom prst="homePlate">
            <a:avLst>
              <a:gd name="adj" fmla="val 21342"/>
            </a:avLst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Nyíl: ötszög 18">
            <a:extLst>
              <a:ext uri="{FF2B5EF4-FFF2-40B4-BE49-F238E27FC236}">
                <a16:creationId xmlns:a16="http://schemas.microsoft.com/office/drawing/2014/main" id="{A5587782-6CB4-431D-8E51-08B0BDEB166B}"/>
              </a:ext>
            </a:extLst>
          </p:cNvPr>
          <p:cNvSpPr/>
          <p:nvPr userDrawn="1"/>
        </p:nvSpPr>
        <p:spPr>
          <a:xfrm>
            <a:off x="0" y="1808018"/>
            <a:ext cx="2387065" cy="3335482"/>
          </a:xfrm>
          <a:prstGeom prst="homePlate">
            <a:avLst>
              <a:gd name="adj" fmla="val 21342"/>
            </a:avLst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Szöveg helye 20">
            <a:extLst>
              <a:ext uri="{FF2B5EF4-FFF2-40B4-BE49-F238E27FC236}">
                <a16:creationId xmlns:a16="http://schemas.microsoft.com/office/drawing/2014/main" id="{4765C32A-972C-4AC9-A891-896C2135AC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248" y="1808019"/>
            <a:ext cx="1876425" cy="757382"/>
          </a:xfrm>
        </p:spPr>
        <p:txBody>
          <a:bodyPr lIns="180000" tIns="360000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rgbClr val="B00402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rgbClr val="B00402"/>
                </a:solidFill>
              </a:defRPr>
            </a:lvl2pPr>
            <a:lvl3pPr marL="358775" indent="-179388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rgbClr val="B0040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1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EB385766-FDA7-4889-9EE8-9C87AF7277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59964" y="3814193"/>
            <a:ext cx="670157" cy="247650"/>
          </a:xfrm>
        </p:spPr>
        <p:txBody>
          <a:bodyPr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28" name="Fußzeilenplatzhalter 6">
            <a:extLst>
              <a:ext uri="{FF2B5EF4-FFF2-40B4-BE49-F238E27FC236}">
                <a16:creationId xmlns:a16="http://schemas.microsoft.com/office/drawing/2014/main" id="{BF2F1925-7A30-48DF-8251-F473B9E9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33816" y="318264"/>
            <a:ext cx="1746000" cy="430716"/>
          </a:xfrm>
          <a:ln>
            <a:noFill/>
          </a:ln>
        </p:spPr>
        <p:txBody>
          <a:bodyPr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endParaRPr lang="hu-HU" dirty="0"/>
          </a:p>
        </p:txBody>
      </p:sp>
      <p:sp>
        <p:nvSpPr>
          <p:cNvPr id="23" name="Szöveg helye 20">
            <a:extLst>
              <a:ext uri="{FF2B5EF4-FFF2-40B4-BE49-F238E27FC236}">
                <a16:creationId xmlns:a16="http://schemas.microsoft.com/office/drawing/2014/main" id="{5F9FEEEC-66FB-4F7F-9F08-A019B99B21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1231" y="1807288"/>
            <a:ext cx="1876425" cy="758113"/>
          </a:xfrm>
        </p:spPr>
        <p:txBody>
          <a:bodyPr lIns="216000" tIns="360000"/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 marL="358775" indent="-179388">
              <a:spcBef>
                <a:spcPts val="0"/>
              </a:spcBef>
              <a:spcAft>
                <a:spcPts val="0"/>
              </a:spcAft>
              <a:buFont typeface="EON Brix Sans" panose="020B0504040000000000" pitchFamily="34" charset="-18"/>
              <a:buChar char="−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2</a:t>
            </a:r>
          </a:p>
        </p:txBody>
      </p:sp>
      <p:sp>
        <p:nvSpPr>
          <p:cNvPr id="29" name="Szöveg helye 3">
            <a:extLst>
              <a:ext uri="{FF2B5EF4-FFF2-40B4-BE49-F238E27FC236}">
                <a16:creationId xmlns:a16="http://schemas.microsoft.com/office/drawing/2014/main" id="{E5D3F26E-2A7F-4002-A29D-6CB9548EE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2910" y="3814193"/>
            <a:ext cx="670157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XY </a:t>
            </a:r>
            <a:r>
              <a:rPr lang="hu-HU" dirty="0" err="1"/>
              <a:t>week</a:t>
            </a:r>
            <a:endParaRPr lang="hu-HU" dirty="0"/>
          </a:p>
        </p:txBody>
      </p:sp>
      <p:sp>
        <p:nvSpPr>
          <p:cNvPr id="18" name="Cím 1">
            <a:extLst>
              <a:ext uri="{FF2B5EF4-FFF2-40B4-BE49-F238E27FC236}">
                <a16:creationId xmlns:a16="http://schemas.microsoft.com/office/drawing/2014/main" id="{1A875FD1-B8BA-47F1-824D-6B0AA34D4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0"/>
            <a:ext cx="5508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4 </a:t>
            </a:r>
            <a:r>
              <a:rPr lang="hu-HU" dirty="0" err="1"/>
              <a:t>Phases</a:t>
            </a:r>
            <a:endParaRPr lang="hu-HU" dirty="0"/>
          </a:p>
        </p:txBody>
      </p:sp>
      <p:sp>
        <p:nvSpPr>
          <p:cNvPr id="22" name="Szöveg helye 13">
            <a:extLst>
              <a:ext uri="{FF2B5EF4-FFF2-40B4-BE49-F238E27FC236}">
                <a16:creationId xmlns:a16="http://schemas.microsoft.com/office/drawing/2014/main" id="{88A65163-B03B-48F7-B6E9-820CDBB71B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01512" y="2573282"/>
            <a:ext cx="1901556" cy="1248791"/>
          </a:xfrm>
        </p:spPr>
        <p:txBody>
          <a:bodyPr lIns="21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24" name="Szöveg helye 13">
            <a:extLst>
              <a:ext uri="{FF2B5EF4-FFF2-40B4-BE49-F238E27FC236}">
                <a16:creationId xmlns:a16="http://schemas.microsoft.com/office/drawing/2014/main" id="{1EABCB1A-35E0-4FCB-AC47-81C411CBE3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32603" y="2561461"/>
            <a:ext cx="1763000" cy="1248791"/>
          </a:xfrm>
        </p:spPr>
        <p:txBody>
          <a:bodyPr lIns="21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36" name="Szöveg helye 13">
            <a:extLst>
              <a:ext uri="{FF2B5EF4-FFF2-40B4-BE49-F238E27FC236}">
                <a16:creationId xmlns:a16="http://schemas.microsoft.com/office/drawing/2014/main" id="{94E36B58-F3B2-4326-B046-CF4DB8BD03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80332" y="2561461"/>
            <a:ext cx="1901556" cy="1248791"/>
          </a:xfrm>
        </p:spPr>
        <p:txBody>
          <a:bodyPr lIns="216000" tIns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FFFFFF"/>
              </a:buClr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25" name="Szöveg helye 3">
            <a:extLst>
              <a:ext uri="{FF2B5EF4-FFF2-40B4-BE49-F238E27FC236}">
                <a16:creationId xmlns:a16="http://schemas.microsoft.com/office/drawing/2014/main" id="{C7152980-D286-485B-B646-8F30FD11B2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-8272" y="2565401"/>
            <a:ext cx="1883481" cy="1256672"/>
          </a:xfrm>
        </p:spPr>
        <p:txBody>
          <a:bodyPr lIns="216000"/>
          <a:lstStyle>
            <a:lvl1pPr>
              <a:defRPr>
                <a:solidFill>
                  <a:srgbClr val="B00402"/>
                </a:solidFill>
                <a:latin typeface="+mj-lt"/>
              </a:defRPr>
            </a:lvl1pPr>
            <a:lvl2pPr>
              <a:spcAft>
                <a:spcPts val="0"/>
              </a:spcAft>
              <a:buClr>
                <a:srgbClr val="B00402"/>
              </a:buClr>
              <a:defRPr>
                <a:solidFill>
                  <a:srgbClr val="B00402"/>
                </a:solidFill>
              </a:defRPr>
            </a:lvl2pPr>
            <a:lvl3pPr>
              <a:spcAft>
                <a:spcPts val="0"/>
              </a:spcAft>
              <a:defRPr>
                <a:solidFill>
                  <a:srgbClr val="B00402"/>
                </a:solidFill>
              </a:defRPr>
            </a:lvl3pPr>
            <a:lvl4pPr>
              <a:spcAft>
                <a:spcPts val="0"/>
              </a:spcAft>
              <a:defRPr>
                <a:solidFill>
                  <a:srgbClr val="B00402"/>
                </a:solidFill>
              </a:defRPr>
            </a:lvl4pPr>
            <a:lvl5pPr>
              <a:spcAft>
                <a:spcPts val="0"/>
              </a:spcAft>
              <a:defRPr>
                <a:solidFill>
                  <a:srgbClr val="B00402"/>
                </a:solidFill>
              </a:defRPr>
            </a:lvl5pPr>
          </a:lstStyle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  <a:p>
            <a:pPr lvl="0"/>
            <a:endParaRPr lang="hu-HU" dirty="0"/>
          </a:p>
        </p:txBody>
      </p:sp>
      <p:sp>
        <p:nvSpPr>
          <p:cNvPr id="37" name="Dátum helye 2">
            <a:extLst>
              <a:ext uri="{FF2B5EF4-FFF2-40B4-BE49-F238E27FC236}">
                <a16:creationId xmlns:a16="http://schemas.microsoft.com/office/drawing/2014/main" id="{FB7BFB98-3239-46A7-BBDC-051F2272F9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62107510-F46A-4429-A665-104CEB6A608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38" name="Dia számának helye 4">
            <a:extLst>
              <a:ext uri="{FF2B5EF4-FFF2-40B4-BE49-F238E27FC236}">
                <a16:creationId xmlns:a16="http://schemas.microsoft.com/office/drawing/2014/main" id="{CC1E3586-9235-48A5-BD8C-C2ACCCF59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988739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8C48533-1D35-4BFA-B9FF-B80936F0AC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Project </a:t>
            </a:r>
            <a:r>
              <a:rPr lang="hu-HU" dirty="0" err="1"/>
              <a:t>phase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E642DDA-24AD-4DFB-9DE9-009E31762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CEFE7-F7F8-4E6D-9547-14F84EE70C74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2287ACC-6751-4FC7-8217-E878155EF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124252C-02E6-40BA-AA58-1A5E97B5C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Richtungspfeil 12">
            <a:extLst>
              <a:ext uri="{FF2B5EF4-FFF2-40B4-BE49-F238E27FC236}">
                <a16:creationId xmlns:a16="http://schemas.microsoft.com/office/drawing/2014/main" id="{D8372B74-2E1E-407A-BD51-8CC52127AA83}"/>
              </a:ext>
            </a:extLst>
          </p:cNvPr>
          <p:cNvSpPr/>
          <p:nvPr userDrawn="1"/>
        </p:nvSpPr>
        <p:spPr>
          <a:xfrm>
            <a:off x="6072174" y="1636603"/>
            <a:ext cx="1294801" cy="1186901"/>
          </a:xfrm>
          <a:prstGeom prst="homePlate">
            <a:avLst>
              <a:gd name="adj" fmla="val 1149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767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5" name="Richtungspfeil 11">
            <a:extLst>
              <a:ext uri="{FF2B5EF4-FFF2-40B4-BE49-F238E27FC236}">
                <a16:creationId xmlns:a16="http://schemas.microsoft.com/office/drawing/2014/main" id="{C667B892-0514-4893-8664-B1A333EFE42F}"/>
              </a:ext>
            </a:extLst>
          </p:cNvPr>
          <p:cNvSpPr/>
          <p:nvPr userDrawn="1"/>
        </p:nvSpPr>
        <p:spPr>
          <a:xfrm>
            <a:off x="4939617" y="1636603"/>
            <a:ext cx="1294801" cy="1186901"/>
          </a:xfrm>
          <a:prstGeom prst="homePlate">
            <a:avLst>
              <a:gd name="adj" fmla="val 11496"/>
            </a:avLst>
          </a:prstGeom>
          <a:solidFill>
            <a:srgbClr val="85D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767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6" name="Richtungspfeil 10">
            <a:extLst>
              <a:ext uri="{FF2B5EF4-FFF2-40B4-BE49-F238E27FC236}">
                <a16:creationId xmlns:a16="http://schemas.microsoft.com/office/drawing/2014/main" id="{4E8B76DB-AD05-4F85-9DF3-75DFDDE3B0B3}"/>
              </a:ext>
            </a:extLst>
          </p:cNvPr>
          <p:cNvSpPr/>
          <p:nvPr userDrawn="1"/>
        </p:nvSpPr>
        <p:spPr>
          <a:xfrm>
            <a:off x="3781490" y="1636603"/>
            <a:ext cx="1294801" cy="1186901"/>
          </a:xfrm>
          <a:prstGeom prst="homePlate">
            <a:avLst>
              <a:gd name="adj" fmla="val 114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767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7" name="Richtungspfeil 9">
            <a:extLst>
              <a:ext uri="{FF2B5EF4-FFF2-40B4-BE49-F238E27FC236}">
                <a16:creationId xmlns:a16="http://schemas.microsoft.com/office/drawing/2014/main" id="{0C70AB7E-C5BB-48B4-A9E4-7B1BA7109224}"/>
              </a:ext>
            </a:extLst>
          </p:cNvPr>
          <p:cNvSpPr/>
          <p:nvPr userDrawn="1"/>
        </p:nvSpPr>
        <p:spPr>
          <a:xfrm>
            <a:off x="3124361" y="1636603"/>
            <a:ext cx="914165" cy="1186901"/>
          </a:xfrm>
          <a:prstGeom prst="homePlate">
            <a:avLst>
              <a:gd name="adj" fmla="val 17295"/>
            </a:avLst>
          </a:prstGeom>
          <a:solidFill>
            <a:srgbClr val="C443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767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8" name="Richtungspfeil 8">
            <a:extLst>
              <a:ext uri="{FF2B5EF4-FFF2-40B4-BE49-F238E27FC236}">
                <a16:creationId xmlns:a16="http://schemas.microsoft.com/office/drawing/2014/main" id="{E2F7AC37-8E44-43A6-8B99-B73E0016B2A6}"/>
              </a:ext>
            </a:extLst>
          </p:cNvPr>
          <p:cNvSpPr/>
          <p:nvPr userDrawn="1"/>
        </p:nvSpPr>
        <p:spPr>
          <a:xfrm>
            <a:off x="1237012" y="1636603"/>
            <a:ext cx="2050102" cy="1186901"/>
          </a:xfrm>
          <a:prstGeom prst="homePlate">
            <a:avLst>
              <a:gd name="adj" fmla="val 1176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767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19" name="Richtungspfeil 5">
            <a:extLst>
              <a:ext uri="{FF2B5EF4-FFF2-40B4-BE49-F238E27FC236}">
                <a16:creationId xmlns:a16="http://schemas.microsoft.com/office/drawing/2014/main" id="{48B07AFA-E0F8-4E38-8823-2822FBA28FC7}"/>
              </a:ext>
            </a:extLst>
          </p:cNvPr>
          <p:cNvSpPr/>
          <p:nvPr userDrawn="1"/>
        </p:nvSpPr>
        <p:spPr>
          <a:xfrm>
            <a:off x="377999" y="1636603"/>
            <a:ext cx="1200543" cy="1186901"/>
          </a:xfrm>
          <a:prstGeom prst="homePlate">
            <a:avLst>
              <a:gd name="adj" fmla="val 1334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33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20" name="Szöveg helye 34">
            <a:extLst>
              <a:ext uri="{FF2B5EF4-FFF2-40B4-BE49-F238E27FC236}">
                <a16:creationId xmlns:a16="http://schemas.microsoft.com/office/drawing/2014/main" id="{50500389-1494-470B-BD2F-C9E6EAE6D4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7999" y="2002207"/>
            <a:ext cx="1152418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1" name="Szöveg helye 34">
            <a:extLst>
              <a:ext uri="{FF2B5EF4-FFF2-40B4-BE49-F238E27FC236}">
                <a16:creationId xmlns:a16="http://schemas.microsoft.com/office/drawing/2014/main" id="{5721D228-9514-4E76-AE5B-B71E7C40B7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98175" y="2000715"/>
            <a:ext cx="1416362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2" name="Szöveg helye 34">
            <a:extLst>
              <a:ext uri="{FF2B5EF4-FFF2-40B4-BE49-F238E27FC236}">
                <a16:creationId xmlns:a16="http://schemas.microsoft.com/office/drawing/2014/main" id="{CE57D118-EEBF-4310-A72F-F7FB0F7C55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87114" y="2002207"/>
            <a:ext cx="723306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3" name="Szöveg helye 34">
            <a:extLst>
              <a:ext uri="{FF2B5EF4-FFF2-40B4-BE49-F238E27FC236}">
                <a16:creationId xmlns:a16="http://schemas.microsoft.com/office/drawing/2014/main" id="{028E3A22-A4A2-4287-8098-CEF2325579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58558" y="2000715"/>
            <a:ext cx="967777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4" name="Szöveg helye 34">
            <a:extLst>
              <a:ext uri="{FF2B5EF4-FFF2-40B4-BE49-F238E27FC236}">
                <a16:creationId xmlns:a16="http://schemas.microsoft.com/office/drawing/2014/main" id="{06DE1BB7-7C4B-43A6-8080-945474C22D9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96323" y="2000715"/>
            <a:ext cx="1078283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5" name="Szöveg helye 34">
            <a:extLst>
              <a:ext uri="{FF2B5EF4-FFF2-40B4-BE49-F238E27FC236}">
                <a16:creationId xmlns:a16="http://schemas.microsoft.com/office/drawing/2014/main" id="{0F213C0E-33F7-41E4-956B-B50BAC88CF6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59644" y="2000715"/>
            <a:ext cx="1041118" cy="455692"/>
          </a:xfrm>
        </p:spPr>
        <p:txBody>
          <a:bodyPr lIns="72000" anchor="ctr"/>
          <a:lstStyle>
            <a:lvl1pPr>
              <a:defRPr sz="1200">
                <a:solidFill>
                  <a:srgbClr val="B00402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26" name="Szöveg helye 3">
            <a:extLst>
              <a:ext uri="{FF2B5EF4-FFF2-40B4-BE49-F238E27FC236}">
                <a16:creationId xmlns:a16="http://schemas.microsoft.com/office/drawing/2014/main" id="{E4EC3421-F7C7-4642-996C-EB899774BD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34911" y="3187616"/>
            <a:ext cx="3712912" cy="376237"/>
          </a:xfrm>
          <a:solidFill>
            <a:srgbClr val="EA1C0A"/>
          </a:solidFill>
        </p:spPr>
        <p:txBody>
          <a:bodyPr lIns="72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Description</a:t>
            </a:r>
            <a:endParaRPr lang="hu-HU" dirty="0"/>
          </a:p>
        </p:txBody>
      </p:sp>
      <p:sp>
        <p:nvSpPr>
          <p:cNvPr id="27" name="Szöveg helye 3">
            <a:extLst>
              <a:ext uri="{FF2B5EF4-FFF2-40B4-BE49-F238E27FC236}">
                <a16:creationId xmlns:a16="http://schemas.microsoft.com/office/drawing/2014/main" id="{C99559F7-62BD-4348-AA7E-AD5FDCA70EA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534911" y="3691494"/>
            <a:ext cx="1411288" cy="647530"/>
          </a:xfrm>
        </p:spPr>
        <p:txBody>
          <a:bodyPr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/>
            </a:lvl1pPr>
          </a:lstStyle>
          <a:p>
            <a:pPr lvl="0"/>
            <a:r>
              <a:rPr lang="hu-HU" dirty="0"/>
              <a:t>Text</a:t>
            </a:r>
          </a:p>
          <a:p>
            <a:pPr lvl="0"/>
            <a:r>
              <a:rPr lang="hu-HU" dirty="0"/>
              <a:t>…</a:t>
            </a:r>
          </a:p>
          <a:p>
            <a:pPr lvl="0"/>
            <a:r>
              <a:rPr lang="hu-HU" dirty="0"/>
              <a:t>…</a:t>
            </a:r>
          </a:p>
        </p:txBody>
      </p:sp>
      <p:cxnSp>
        <p:nvCxnSpPr>
          <p:cNvPr id="28" name="Egyenes összekötő 27">
            <a:extLst>
              <a:ext uri="{FF2B5EF4-FFF2-40B4-BE49-F238E27FC236}">
                <a16:creationId xmlns:a16="http://schemas.microsoft.com/office/drawing/2014/main" id="{ACA7F8B1-150A-4975-9107-B18B92EF6E3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431" y="1502326"/>
            <a:ext cx="684000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E463E408-00EB-4F81-BE89-23039DFED56A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287703" y="1398966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33E0456A-A272-440D-B22A-DA43692CD667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6901840" y="1398966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Egyenes összekötő 31">
            <a:extLst>
              <a:ext uri="{FF2B5EF4-FFF2-40B4-BE49-F238E27FC236}">
                <a16:creationId xmlns:a16="http://schemas.microsoft.com/office/drawing/2014/main" id="{2B9DF588-FE84-4D2F-AF9E-C20051866277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1490515" y="1402222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Egyenes összekötő 32">
            <a:extLst>
              <a:ext uri="{FF2B5EF4-FFF2-40B4-BE49-F238E27FC236}">
                <a16:creationId xmlns:a16="http://schemas.microsoft.com/office/drawing/2014/main" id="{27073265-F031-4384-ADFD-77EECC556F58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2634665" y="1402223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Egyenes összekötő 33">
            <a:extLst>
              <a:ext uri="{FF2B5EF4-FFF2-40B4-BE49-F238E27FC236}">
                <a16:creationId xmlns:a16="http://schemas.microsoft.com/office/drawing/2014/main" id="{F64F151A-C937-4F9A-8B44-F477053468D4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3778815" y="1400790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Egyenes összekötő 34">
            <a:extLst>
              <a:ext uri="{FF2B5EF4-FFF2-40B4-BE49-F238E27FC236}">
                <a16:creationId xmlns:a16="http://schemas.microsoft.com/office/drawing/2014/main" id="{75D27188-D305-44F3-9701-245E05BACDCC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4843693" y="1398966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Egyenes összekötő 35">
            <a:extLst>
              <a:ext uri="{FF2B5EF4-FFF2-40B4-BE49-F238E27FC236}">
                <a16:creationId xmlns:a16="http://schemas.microsoft.com/office/drawing/2014/main" id="{1884F3BA-28D2-40E9-BCFD-BEBFAAA50144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5987321" y="1400790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37">
            <a:extLst>
              <a:ext uri="{FF2B5EF4-FFF2-40B4-BE49-F238E27FC236}">
                <a16:creationId xmlns:a16="http://schemas.microsoft.com/office/drawing/2014/main" id="{9F43252E-700B-4515-A34E-E4573D6515C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31131" y="1271354"/>
            <a:ext cx="441325" cy="20161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Q3</a:t>
            </a:r>
          </a:p>
        </p:txBody>
      </p:sp>
      <p:sp>
        <p:nvSpPr>
          <p:cNvPr id="39" name="Szöveg helye 37">
            <a:extLst>
              <a:ext uri="{FF2B5EF4-FFF2-40B4-BE49-F238E27FC236}">
                <a16:creationId xmlns:a16="http://schemas.microsoft.com/office/drawing/2014/main" id="{A3895735-E8B1-4DBC-95D5-561D615292E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622964" y="1270978"/>
            <a:ext cx="441325" cy="20161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Q3</a:t>
            </a:r>
          </a:p>
        </p:txBody>
      </p:sp>
      <p:sp>
        <p:nvSpPr>
          <p:cNvPr id="40" name="Szöveg helye 37">
            <a:extLst>
              <a:ext uri="{FF2B5EF4-FFF2-40B4-BE49-F238E27FC236}">
                <a16:creationId xmlns:a16="http://schemas.microsoft.com/office/drawing/2014/main" id="{5848FD61-4D6D-4949-AB0C-05C67793F6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773403" y="1265873"/>
            <a:ext cx="441325" cy="20161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Q3</a:t>
            </a:r>
          </a:p>
        </p:txBody>
      </p:sp>
      <p:sp>
        <p:nvSpPr>
          <p:cNvPr id="41" name="Szöveg helye 37">
            <a:extLst>
              <a:ext uri="{FF2B5EF4-FFF2-40B4-BE49-F238E27FC236}">
                <a16:creationId xmlns:a16="http://schemas.microsoft.com/office/drawing/2014/main" id="{36BB54F2-9D3C-4E85-A8BB-1798AB8908B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11350" y="1275231"/>
            <a:ext cx="441325" cy="20161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Q3</a:t>
            </a:r>
          </a:p>
        </p:txBody>
      </p:sp>
      <p:sp>
        <p:nvSpPr>
          <p:cNvPr id="42" name="Szöveg helye 37">
            <a:extLst>
              <a:ext uri="{FF2B5EF4-FFF2-40B4-BE49-F238E27FC236}">
                <a16:creationId xmlns:a16="http://schemas.microsoft.com/office/drawing/2014/main" id="{D8A04505-303B-423F-B042-140870F85DB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985198" y="1275231"/>
            <a:ext cx="441325" cy="20161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Q3</a:t>
            </a:r>
          </a:p>
        </p:txBody>
      </p:sp>
      <p:sp>
        <p:nvSpPr>
          <p:cNvPr id="43" name="Szöveg helye 37">
            <a:extLst>
              <a:ext uri="{FF2B5EF4-FFF2-40B4-BE49-F238E27FC236}">
                <a16:creationId xmlns:a16="http://schemas.microsoft.com/office/drawing/2014/main" id="{EC296155-817C-4ADA-BA27-FE46E472C46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19856" y="1280731"/>
            <a:ext cx="441325" cy="20161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Q3</a:t>
            </a:r>
          </a:p>
        </p:txBody>
      </p:sp>
      <p:cxnSp>
        <p:nvCxnSpPr>
          <p:cNvPr id="44" name="Gerade Verbindung 34">
            <a:extLst>
              <a:ext uri="{FF2B5EF4-FFF2-40B4-BE49-F238E27FC236}">
                <a16:creationId xmlns:a16="http://schemas.microsoft.com/office/drawing/2014/main" id="{DE8DDD85-16BA-40EA-909E-2CA8B3FB0A66}"/>
              </a:ext>
            </a:extLst>
          </p:cNvPr>
          <p:cNvCxnSpPr/>
          <p:nvPr userDrawn="1"/>
        </p:nvCxnSpPr>
        <p:spPr>
          <a:xfrm flipV="1">
            <a:off x="3554052" y="1505583"/>
            <a:ext cx="0" cy="160239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044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phas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8C48533-1D35-4BFA-B9FF-B80936F0AC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/>
              <a:t>Project </a:t>
            </a:r>
            <a:r>
              <a:rPr lang="hu-HU" dirty="0" err="1"/>
              <a:t>phases</a:t>
            </a:r>
            <a:endParaRPr lang="hu-HU" dirty="0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E642DDA-24AD-4DFB-9DE9-009E31762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79AA0-6479-4FBF-B406-BABC3730E48B}" type="datetime1">
              <a:rPr lang="hu-HU" smtClean="0"/>
              <a:t>2022. 05. 02.</a:t>
            </a:fld>
            <a:endParaRPr lang="de-DE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2287ACC-6751-4FC7-8217-E878155EF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124252C-02E6-40BA-AA58-1A5E97B5C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9" name="Richtungspfeil 5">
            <a:extLst>
              <a:ext uri="{FF2B5EF4-FFF2-40B4-BE49-F238E27FC236}">
                <a16:creationId xmlns:a16="http://schemas.microsoft.com/office/drawing/2014/main" id="{48B07AFA-E0F8-4E38-8823-2822FBA28FC7}"/>
              </a:ext>
            </a:extLst>
          </p:cNvPr>
          <p:cNvSpPr/>
          <p:nvPr userDrawn="1"/>
        </p:nvSpPr>
        <p:spPr>
          <a:xfrm>
            <a:off x="377999" y="1665047"/>
            <a:ext cx="2711710" cy="465196"/>
          </a:xfrm>
          <a:prstGeom prst="homePlate">
            <a:avLst>
              <a:gd name="adj" fmla="val 1334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33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20" name="Szöveg helye 34">
            <a:extLst>
              <a:ext uri="{FF2B5EF4-FFF2-40B4-BE49-F238E27FC236}">
                <a16:creationId xmlns:a16="http://schemas.microsoft.com/office/drawing/2014/main" id="{50500389-1494-470B-BD2F-C9E6EAE6D4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0540" y="1674551"/>
            <a:ext cx="2612542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cxnSp>
        <p:nvCxnSpPr>
          <p:cNvPr id="28" name="Egyenes összekötő 27">
            <a:extLst>
              <a:ext uri="{FF2B5EF4-FFF2-40B4-BE49-F238E27FC236}">
                <a16:creationId xmlns:a16="http://schemas.microsoft.com/office/drawing/2014/main" id="{ACA7F8B1-150A-4975-9107-B18B92EF6E3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431" y="1502326"/>
            <a:ext cx="6840000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Egyenes összekötő 29">
            <a:extLst>
              <a:ext uri="{FF2B5EF4-FFF2-40B4-BE49-F238E27FC236}">
                <a16:creationId xmlns:a16="http://schemas.microsoft.com/office/drawing/2014/main" id="{E463E408-00EB-4F81-BE89-23039DFED56A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287703" y="1398966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33E0456A-A272-440D-B22A-DA43692CD667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6901840" y="1398966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Egyenes összekötő 31">
            <a:extLst>
              <a:ext uri="{FF2B5EF4-FFF2-40B4-BE49-F238E27FC236}">
                <a16:creationId xmlns:a16="http://schemas.microsoft.com/office/drawing/2014/main" id="{2B9DF588-FE84-4D2F-AF9E-C20051866277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1490515" y="1402222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Egyenes összekötő 33">
            <a:extLst>
              <a:ext uri="{FF2B5EF4-FFF2-40B4-BE49-F238E27FC236}">
                <a16:creationId xmlns:a16="http://schemas.microsoft.com/office/drawing/2014/main" id="{F64F151A-C937-4F9A-8B44-F477053468D4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3778815" y="1400790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Szöveg helye 37">
            <a:extLst>
              <a:ext uri="{FF2B5EF4-FFF2-40B4-BE49-F238E27FC236}">
                <a16:creationId xmlns:a16="http://schemas.microsoft.com/office/drawing/2014/main" id="{9F43252E-700B-4515-A34E-E4573D6515C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31131" y="1270978"/>
            <a:ext cx="882717" cy="2019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/>
              <a:t>December</a:t>
            </a:r>
          </a:p>
        </p:txBody>
      </p:sp>
      <p:cxnSp>
        <p:nvCxnSpPr>
          <p:cNvPr id="44" name="Gerade Verbindung 34">
            <a:extLst>
              <a:ext uri="{FF2B5EF4-FFF2-40B4-BE49-F238E27FC236}">
                <a16:creationId xmlns:a16="http://schemas.microsoft.com/office/drawing/2014/main" id="{DE8DDD85-16BA-40EA-909E-2CA8B3FB0A66}"/>
              </a:ext>
            </a:extLst>
          </p:cNvPr>
          <p:cNvCxnSpPr/>
          <p:nvPr userDrawn="1"/>
        </p:nvCxnSpPr>
        <p:spPr>
          <a:xfrm flipV="1">
            <a:off x="3554052" y="1505583"/>
            <a:ext cx="0" cy="165600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zöveg helye 37">
            <a:extLst>
              <a:ext uri="{FF2B5EF4-FFF2-40B4-BE49-F238E27FC236}">
                <a16:creationId xmlns:a16="http://schemas.microsoft.com/office/drawing/2014/main" id="{42985DFE-CFA2-4A2A-A27E-C24D90AD3A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641671" y="1280529"/>
            <a:ext cx="882717" cy="2019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January</a:t>
            </a:r>
            <a:endParaRPr lang="hu-HU" dirty="0"/>
          </a:p>
        </p:txBody>
      </p:sp>
      <p:cxnSp>
        <p:nvCxnSpPr>
          <p:cNvPr id="45" name="Gerade Verbindung 34">
            <a:extLst>
              <a:ext uri="{FF2B5EF4-FFF2-40B4-BE49-F238E27FC236}">
                <a16:creationId xmlns:a16="http://schemas.microsoft.com/office/drawing/2014/main" id="{AB3FC5F7-F5EA-4907-82AE-9CC32F819C57}"/>
              </a:ext>
            </a:extLst>
          </p:cNvPr>
          <p:cNvCxnSpPr/>
          <p:nvPr userDrawn="1"/>
        </p:nvCxnSpPr>
        <p:spPr>
          <a:xfrm flipV="1">
            <a:off x="5039551" y="1505583"/>
            <a:ext cx="0" cy="165600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4">
            <a:extLst>
              <a:ext uri="{FF2B5EF4-FFF2-40B4-BE49-F238E27FC236}">
                <a16:creationId xmlns:a16="http://schemas.microsoft.com/office/drawing/2014/main" id="{8AC9245E-B49E-4A8C-B708-E324586F0069}"/>
              </a:ext>
            </a:extLst>
          </p:cNvPr>
          <p:cNvCxnSpPr/>
          <p:nvPr userDrawn="1"/>
        </p:nvCxnSpPr>
        <p:spPr>
          <a:xfrm flipV="1">
            <a:off x="6286022" y="1505583"/>
            <a:ext cx="0" cy="208800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3">
            <a:extLst>
              <a:ext uri="{FF2B5EF4-FFF2-40B4-BE49-F238E27FC236}">
                <a16:creationId xmlns:a16="http://schemas.microsoft.com/office/drawing/2014/main" id="{9AC0CE18-A021-47BF-8EBF-0954F5D0C07D}"/>
              </a:ext>
            </a:extLst>
          </p:cNvPr>
          <p:cNvCxnSpPr/>
          <p:nvPr userDrawn="1"/>
        </p:nvCxnSpPr>
        <p:spPr>
          <a:xfrm>
            <a:off x="381706" y="2327143"/>
            <a:ext cx="708113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8">
            <a:extLst>
              <a:ext uri="{FF2B5EF4-FFF2-40B4-BE49-F238E27FC236}">
                <a16:creationId xmlns:a16="http://schemas.microsoft.com/office/drawing/2014/main" id="{931A25E3-05E7-4B54-9318-EE80F4B86A0A}"/>
              </a:ext>
            </a:extLst>
          </p:cNvPr>
          <p:cNvCxnSpPr/>
          <p:nvPr userDrawn="1"/>
        </p:nvCxnSpPr>
        <p:spPr>
          <a:xfrm>
            <a:off x="381706" y="3071210"/>
            <a:ext cx="708113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Szöveg helye 37">
            <a:extLst>
              <a:ext uri="{FF2B5EF4-FFF2-40B4-BE49-F238E27FC236}">
                <a16:creationId xmlns:a16="http://schemas.microsoft.com/office/drawing/2014/main" id="{89D0B815-F279-4FC3-A88B-19DA623AB2F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921720" y="1270066"/>
            <a:ext cx="882717" cy="2019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February</a:t>
            </a:r>
            <a:endParaRPr lang="hu-HU" dirty="0"/>
          </a:p>
        </p:txBody>
      </p:sp>
      <p:cxnSp>
        <p:nvCxnSpPr>
          <p:cNvPr id="50" name="Egyenes összekötő 49">
            <a:extLst>
              <a:ext uri="{FF2B5EF4-FFF2-40B4-BE49-F238E27FC236}">
                <a16:creationId xmlns:a16="http://schemas.microsoft.com/office/drawing/2014/main" id="{DE9A13E5-B943-4ECE-A93F-4BAF8D448790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5234933" y="1398990"/>
            <a:ext cx="206197" cy="5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Szöveg helye 37">
            <a:extLst>
              <a:ext uri="{FF2B5EF4-FFF2-40B4-BE49-F238E27FC236}">
                <a16:creationId xmlns:a16="http://schemas.microsoft.com/office/drawing/2014/main" id="{9DD0082F-E4E1-45CF-BAA0-DB85ADC0C82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77838" y="1268266"/>
            <a:ext cx="882717" cy="2019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hu-HU" dirty="0" err="1"/>
              <a:t>February</a:t>
            </a:r>
            <a:endParaRPr lang="hu-HU" dirty="0"/>
          </a:p>
        </p:txBody>
      </p:sp>
      <p:sp>
        <p:nvSpPr>
          <p:cNvPr id="52" name="Richtungspfeil 5">
            <a:extLst>
              <a:ext uri="{FF2B5EF4-FFF2-40B4-BE49-F238E27FC236}">
                <a16:creationId xmlns:a16="http://schemas.microsoft.com/office/drawing/2014/main" id="{766C6967-C49A-455C-9CFA-31E6E279E196}"/>
              </a:ext>
            </a:extLst>
          </p:cNvPr>
          <p:cNvSpPr/>
          <p:nvPr userDrawn="1"/>
        </p:nvSpPr>
        <p:spPr>
          <a:xfrm>
            <a:off x="2808882" y="2486607"/>
            <a:ext cx="3226157" cy="465196"/>
          </a:xfrm>
          <a:prstGeom prst="homePlate">
            <a:avLst>
              <a:gd name="adj" fmla="val 1334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33" tIns="0" rIns="71933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099" dirty="0">
              <a:solidFill>
                <a:prstClr val="white"/>
              </a:solidFill>
              <a:latin typeface="EON Brix Sans Black"/>
            </a:endParaRPr>
          </a:p>
        </p:txBody>
      </p:sp>
      <p:sp>
        <p:nvSpPr>
          <p:cNvPr id="53" name="Szöveg helye 34">
            <a:extLst>
              <a:ext uri="{FF2B5EF4-FFF2-40B4-BE49-F238E27FC236}">
                <a16:creationId xmlns:a16="http://schemas.microsoft.com/office/drawing/2014/main" id="{679F03CD-8604-4AE1-BDBD-2F5CF82037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423" y="2496111"/>
            <a:ext cx="3122177" cy="455692"/>
          </a:xfrm>
        </p:spPr>
        <p:txBody>
          <a:bodyPr lIns="72000" anchor="ctr"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/>
              <a:t>Headline</a:t>
            </a:r>
          </a:p>
        </p:txBody>
      </p:sp>
      <p:sp>
        <p:nvSpPr>
          <p:cNvPr id="54" name="Szöveg helye 9">
            <a:extLst>
              <a:ext uri="{FF2B5EF4-FFF2-40B4-BE49-F238E27FC236}">
                <a16:creationId xmlns:a16="http://schemas.microsoft.com/office/drawing/2014/main" id="{ADCC273C-F3DB-46C5-9F95-F9BB16D669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4052" y="3280990"/>
            <a:ext cx="1065887" cy="910141"/>
          </a:xfrm>
          <a:noFill/>
        </p:spPr>
        <p:txBody>
          <a:bodyPr anchor="ctr"/>
          <a:lstStyle>
            <a:lvl1pPr marL="0" indent="0" algn="l"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Tetx</a:t>
            </a:r>
            <a:r>
              <a:rPr lang="hu-HU" dirty="0"/>
              <a:t>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eaqui</a:t>
            </a:r>
            <a:r>
              <a:rPr lang="hu-HU" dirty="0"/>
              <a:t> </a:t>
            </a:r>
            <a:r>
              <a:rPr lang="hu-HU" dirty="0" err="1"/>
              <a:t>dolore</a:t>
            </a:r>
            <a:r>
              <a:rPr lang="hu-HU" dirty="0"/>
              <a:t> som </a:t>
            </a:r>
            <a:r>
              <a:rPr lang="hu-HU" dirty="0" err="1"/>
              <a:t>oluptae</a:t>
            </a:r>
            <a:r>
              <a:rPr lang="hu-HU" dirty="0"/>
              <a:t> </a:t>
            </a:r>
          </a:p>
        </p:txBody>
      </p:sp>
      <p:sp>
        <p:nvSpPr>
          <p:cNvPr id="55" name="Szöveg helye 9">
            <a:extLst>
              <a:ext uri="{FF2B5EF4-FFF2-40B4-BE49-F238E27FC236}">
                <a16:creationId xmlns:a16="http://schemas.microsoft.com/office/drawing/2014/main" id="{52C1B9C3-1986-4354-9E92-029675B07C6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34424" y="3280990"/>
            <a:ext cx="1065887" cy="910141"/>
          </a:xfrm>
          <a:noFill/>
        </p:spPr>
        <p:txBody>
          <a:bodyPr anchor="ctr"/>
          <a:lstStyle>
            <a:lvl1pPr marL="0" indent="0" algn="l"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Tetx</a:t>
            </a:r>
            <a:r>
              <a:rPr lang="hu-HU" dirty="0"/>
              <a:t>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eaqui</a:t>
            </a:r>
            <a:r>
              <a:rPr lang="hu-HU" dirty="0"/>
              <a:t> </a:t>
            </a:r>
            <a:r>
              <a:rPr lang="hu-HU" dirty="0" err="1"/>
              <a:t>dolore</a:t>
            </a:r>
            <a:r>
              <a:rPr lang="hu-HU" dirty="0"/>
              <a:t> som </a:t>
            </a:r>
            <a:r>
              <a:rPr lang="hu-HU" dirty="0" err="1"/>
              <a:t>oluptae</a:t>
            </a:r>
            <a:r>
              <a:rPr lang="hu-HU" dirty="0"/>
              <a:t> </a:t>
            </a:r>
          </a:p>
        </p:txBody>
      </p:sp>
      <p:sp>
        <p:nvSpPr>
          <p:cNvPr id="56" name="Szöveg helye 9">
            <a:extLst>
              <a:ext uri="{FF2B5EF4-FFF2-40B4-BE49-F238E27FC236}">
                <a16:creationId xmlns:a16="http://schemas.microsoft.com/office/drawing/2014/main" id="{1DDF985B-31D9-41F2-85A6-3B7138236C5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60555" y="3712990"/>
            <a:ext cx="1065887" cy="910141"/>
          </a:xfrm>
          <a:noFill/>
        </p:spPr>
        <p:txBody>
          <a:bodyPr anchor="ctr"/>
          <a:lstStyle>
            <a:lvl1pPr marL="0" indent="0" algn="l"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hu-HU" dirty="0" err="1"/>
              <a:t>Tetx</a:t>
            </a:r>
            <a:r>
              <a:rPr lang="hu-HU" dirty="0"/>
              <a:t>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eaqui</a:t>
            </a:r>
            <a:r>
              <a:rPr lang="hu-HU" dirty="0"/>
              <a:t> </a:t>
            </a:r>
            <a:r>
              <a:rPr lang="hu-HU" dirty="0" err="1"/>
              <a:t>dolore</a:t>
            </a:r>
            <a:r>
              <a:rPr lang="hu-HU" dirty="0"/>
              <a:t> som </a:t>
            </a:r>
            <a:r>
              <a:rPr lang="hu-HU" dirty="0" err="1"/>
              <a:t>oluptae</a:t>
            </a:r>
            <a:r>
              <a:rPr lang="hu-H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246155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ment / past to fu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Egyenes összekötő 32">
            <a:extLst>
              <a:ext uri="{FF2B5EF4-FFF2-40B4-BE49-F238E27FC236}">
                <a16:creationId xmlns:a16="http://schemas.microsoft.com/office/drawing/2014/main" id="{57F16E57-0FAD-4209-8F96-B753E7C89305}"/>
              </a:ext>
            </a:extLst>
          </p:cNvPr>
          <p:cNvCxnSpPr/>
          <p:nvPr userDrawn="1"/>
        </p:nvCxnSpPr>
        <p:spPr>
          <a:xfrm flipH="1">
            <a:off x="6548320" y="3037498"/>
            <a:ext cx="1" cy="289483"/>
          </a:xfrm>
          <a:prstGeom prst="line">
            <a:avLst/>
          </a:prstGeom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2" name="Egyenes összekötő 31">
            <a:extLst>
              <a:ext uri="{FF2B5EF4-FFF2-40B4-BE49-F238E27FC236}">
                <a16:creationId xmlns:a16="http://schemas.microsoft.com/office/drawing/2014/main" id="{68FB8011-4FAF-489D-B026-90F10503757C}"/>
              </a:ext>
            </a:extLst>
          </p:cNvPr>
          <p:cNvCxnSpPr/>
          <p:nvPr userDrawn="1"/>
        </p:nvCxnSpPr>
        <p:spPr>
          <a:xfrm flipH="1">
            <a:off x="4447650" y="3037499"/>
            <a:ext cx="1" cy="289483"/>
          </a:xfrm>
          <a:prstGeom prst="line">
            <a:avLst/>
          </a:prstGeom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1" name="Egyenes összekötő 30">
            <a:extLst>
              <a:ext uri="{FF2B5EF4-FFF2-40B4-BE49-F238E27FC236}">
                <a16:creationId xmlns:a16="http://schemas.microsoft.com/office/drawing/2014/main" id="{810A9858-9FAB-4922-ABE8-8271BA6022B6}"/>
              </a:ext>
            </a:extLst>
          </p:cNvPr>
          <p:cNvCxnSpPr/>
          <p:nvPr userDrawn="1"/>
        </p:nvCxnSpPr>
        <p:spPr>
          <a:xfrm flipH="1">
            <a:off x="2346981" y="3037500"/>
            <a:ext cx="1" cy="289483"/>
          </a:xfrm>
          <a:prstGeom prst="line">
            <a:avLst/>
          </a:prstGeom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30" name="Kép 29">
            <a:extLst>
              <a:ext uri="{FF2B5EF4-FFF2-40B4-BE49-F238E27FC236}">
                <a16:creationId xmlns:a16="http://schemas.microsoft.com/office/drawing/2014/main" id="{978CF61A-0F04-43A5-AF84-A34D7BA72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837"/>
          <a:stretch/>
        </p:blipFill>
        <p:spPr>
          <a:xfrm>
            <a:off x="7366371" y="2613305"/>
            <a:ext cx="290683" cy="526954"/>
          </a:xfrm>
          <a:prstGeom prst="rect">
            <a:avLst/>
          </a:prstGeom>
        </p:spPr>
      </p:pic>
      <p:sp>
        <p:nvSpPr>
          <p:cNvPr id="15" name="Szöveg helye 20">
            <a:extLst>
              <a:ext uri="{FF2B5EF4-FFF2-40B4-BE49-F238E27FC236}">
                <a16:creationId xmlns:a16="http://schemas.microsoft.com/office/drawing/2014/main" id="{E9E2799A-C3CE-475B-B99A-F2D279223A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3866" y="1007757"/>
            <a:ext cx="1786233" cy="1418612"/>
          </a:xfrm>
          <a:solidFill>
            <a:srgbClr val="E3E000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rgbClr val="B00402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 sz="1100"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/>
              <a:t>…</a:t>
            </a:r>
          </a:p>
          <a:p>
            <a:pPr lvl="3"/>
            <a:r>
              <a:rPr lang="hu-HU" dirty="0"/>
              <a:t>..</a:t>
            </a:r>
          </a:p>
        </p:txBody>
      </p:sp>
      <p:sp>
        <p:nvSpPr>
          <p:cNvPr id="17" name="Szöveg helye 20">
            <a:extLst>
              <a:ext uri="{FF2B5EF4-FFF2-40B4-BE49-F238E27FC236}">
                <a16:creationId xmlns:a16="http://schemas.microsoft.com/office/drawing/2014/main" id="{E188DC7A-F380-4F50-B54B-45E61A7052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54535" y="1007757"/>
            <a:ext cx="1786233" cy="1418612"/>
          </a:xfrm>
          <a:solidFill>
            <a:srgbClr val="E3E000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rgbClr val="B00402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 sz="1100"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/>
              <a:t>…</a:t>
            </a:r>
          </a:p>
          <a:p>
            <a:pPr lvl="3"/>
            <a:r>
              <a:rPr lang="hu-HU" dirty="0"/>
              <a:t>..</a:t>
            </a:r>
          </a:p>
        </p:txBody>
      </p:sp>
      <p:sp>
        <p:nvSpPr>
          <p:cNvPr id="23" name="Szöveg helye 20">
            <a:extLst>
              <a:ext uri="{FF2B5EF4-FFF2-40B4-BE49-F238E27FC236}">
                <a16:creationId xmlns:a16="http://schemas.microsoft.com/office/drawing/2014/main" id="{52746EAC-8287-4312-8429-6E03DA6EE6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55204" y="1007757"/>
            <a:ext cx="1786233" cy="1418612"/>
          </a:xfrm>
          <a:solidFill>
            <a:srgbClr val="E3E000"/>
          </a:solidFill>
        </p:spPr>
        <p:txBody>
          <a:bodyPr lIns="180000" tIns="180000"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rgbClr val="B00402"/>
                </a:solidFill>
                <a:latin typeface="+mj-lt"/>
              </a:defRPr>
            </a:lvl1pPr>
            <a:lvl2pPr marL="177800" indent="-177800">
              <a:spcBef>
                <a:spcPts val="0"/>
              </a:spcBef>
              <a:spcAft>
                <a:spcPts val="0"/>
              </a:spcAft>
              <a:buClr>
                <a:srgbClr val="B00402"/>
              </a:buClr>
              <a:buFont typeface="Arial" panose="020B0604020202020204" pitchFamily="34" charset="0"/>
              <a:buChar char="•"/>
              <a:defRPr sz="1100">
                <a:solidFill>
                  <a:srgbClr val="B00402"/>
                </a:solidFill>
              </a:defRPr>
            </a:lvl2pPr>
            <a:lvl3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3pPr>
            <a:lvl4pPr marL="179388" indent="-17938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rgbClr val="B0040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rgbClr val="B00402"/>
                </a:solidFill>
              </a:defRPr>
            </a:lvl5pPr>
          </a:lstStyle>
          <a:p>
            <a:pPr lvl="0"/>
            <a:r>
              <a:rPr lang="hu-HU" dirty="0" err="1"/>
              <a:t>Phase</a:t>
            </a:r>
            <a:r>
              <a:rPr lang="hu-HU" dirty="0"/>
              <a:t> 1</a:t>
            </a:r>
          </a:p>
          <a:p>
            <a:pPr lvl="1"/>
            <a:r>
              <a:rPr lang="hu-HU" dirty="0" err="1"/>
              <a:t>Level</a:t>
            </a:r>
            <a:r>
              <a:rPr lang="hu-HU" dirty="0"/>
              <a:t> 1</a:t>
            </a:r>
          </a:p>
          <a:p>
            <a:pPr lvl="2"/>
            <a:r>
              <a:rPr lang="hu-HU" dirty="0"/>
              <a:t>…</a:t>
            </a:r>
          </a:p>
          <a:p>
            <a:pPr lvl="3"/>
            <a:r>
              <a:rPr lang="hu-HU" dirty="0"/>
              <a:t>..</a:t>
            </a:r>
          </a:p>
        </p:txBody>
      </p:sp>
      <p:cxnSp>
        <p:nvCxnSpPr>
          <p:cNvPr id="5" name="Egyenes összekötő 4">
            <a:extLst>
              <a:ext uri="{FF2B5EF4-FFF2-40B4-BE49-F238E27FC236}">
                <a16:creationId xmlns:a16="http://schemas.microsoft.com/office/drawing/2014/main" id="{4FEE5F53-96DF-41DF-B495-195BB42FBF79}"/>
              </a:ext>
            </a:extLst>
          </p:cNvPr>
          <p:cNvCxnSpPr>
            <a:stCxn id="15" idx="2"/>
          </p:cNvCxnSpPr>
          <p:nvPr userDrawn="1"/>
        </p:nvCxnSpPr>
        <p:spPr>
          <a:xfrm flipH="1">
            <a:off x="2346982" y="2426369"/>
            <a:ext cx="1" cy="289483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5" name="Egyenes összekötő 24">
            <a:extLst>
              <a:ext uri="{FF2B5EF4-FFF2-40B4-BE49-F238E27FC236}">
                <a16:creationId xmlns:a16="http://schemas.microsoft.com/office/drawing/2014/main" id="{198A398D-5452-41B8-9970-3D2F4D4494E3}"/>
              </a:ext>
            </a:extLst>
          </p:cNvPr>
          <p:cNvCxnSpPr/>
          <p:nvPr userDrawn="1"/>
        </p:nvCxnSpPr>
        <p:spPr>
          <a:xfrm flipH="1">
            <a:off x="4447651" y="2426368"/>
            <a:ext cx="1" cy="289483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6" name="Egyenes összekötő 25">
            <a:extLst>
              <a:ext uri="{FF2B5EF4-FFF2-40B4-BE49-F238E27FC236}">
                <a16:creationId xmlns:a16="http://schemas.microsoft.com/office/drawing/2014/main" id="{470BBB5B-4A66-4FB5-9534-1E8BDA710749}"/>
              </a:ext>
            </a:extLst>
          </p:cNvPr>
          <p:cNvCxnSpPr/>
          <p:nvPr userDrawn="1"/>
        </p:nvCxnSpPr>
        <p:spPr>
          <a:xfrm flipH="1">
            <a:off x="6548321" y="2426367"/>
            <a:ext cx="1" cy="289483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" name="Ellipszis 5">
            <a:extLst>
              <a:ext uri="{FF2B5EF4-FFF2-40B4-BE49-F238E27FC236}">
                <a16:creationId xmlns:a16="http://schemas.microsoft.com/office/drawing/2014/main" id="{4FB04AF9-3AD6-45F0-BBAF-9FA95A5FBDC7}"/>
              </a:ext>
            </a:extLst>
          </p:cNvPr>
          <p:cNvSpPr/>
          <p:nvPr userDrawn="1"/>
        </p:nvSpPr>
        <p:spPr>
          <a:xfrm>
            <a:off x="2288699" y="2829473"/>
            <a:ext cx="116567" cy="1148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7" name="Ellipszis 26">
            <a:extLst>
              <a:ext uri="{FF2B5EF4-FFF2-40B4-BE49-F238E27FC236}">
                <a16:creationId xmlns:a16="http://schemas.microsoft.com/office/drawing/2014/main" id="{5911EACB-B1FB-4801-BE70-A107E71BE3A3}"/>
              </a:ext>
            </a:extLst>
          </p:cNvPr>
          <p:cNvSpPr/>
          <p:nvPr userDrawn="1"/>
        </p:nvSpPr>
        <p:spPr>
          <a:xfrm>
            <a:off x="4389367" y="2829473"/>
            <a:ext cx="116567" cy="1148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8" name="Ellipszis 27">
            <a:extLst>
              <a:ext uri="{FF2B5EF4-FFF2-40B4-BE49-F238E27FC236}">
                <a16:creationId xmlns:a16="http://schemas.microsoft.com/office/drawing/2014/main" id="{435C873C-7318-4111-B442-0478E8A4555E}"/>
              </a:ext>
            </a:extLst>
          </p:cNvPr>
          <p:cNvSpPr/>
          <p:nvPr userDrawn="1"/>
        </p:nvSpPr>
        <p:spPr>
          <a:xfrm>
            <a:off x="6490038" y="2829473"/>
            <a:ext cx="116567" cy="1148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14" name="Egyenes összekötő 13">
            <a:extLst>
              <a:ext uri="{FF2B5EF4-FFF2-40B4-BE49-F238E27FC236}">
                <a16:creationId xmlns:a16="http://schemas.microsoft.com/office/drawing/2014/main" id="{EB0A3D35-2CDC-488E-9A76-F46E818121BA}"/>
              </a:ext>
            </a:extLst>
          </p:cNvPr>
          <p:cNvCxnSpPr/>
          <p:nvPr userDrawn="1"/>
        </p:nvCxnSpPr>
        <p:spPr>
          <a:xfrm flipH="1">
            <a:off x="1453864" y="2878689"/>
            <a:ext cx="598757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Szöveg helye 34">
            <a:extLst>
              <a:ext uri="{FF2B5EF4-FFF2-40B4-BE49-F238E27FC236}">
                <a16:creationId xmlns:a16="http://schemas.microsoft.com/office/drawing/2014/main" id="{90EBAA6F-C76B-4264-90B0-0AD531DE00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53864" y="3336508"/>
            <a:ext cx="5986463" cy="1419225"/>
          </a:xfrm>
          <a:solidFill>
            <a:srgbClr val="5CC1CB"/>
          </a:solidFill>
        </p:spPr>
        <p:txBody>
          <a:bodyPr lIns="108000" tIns="108000"/>
          <a:lstStyle>
            <a:lvl1pPr>
              <a:defRPr sz="1100">
                <a:solidFill>
                  <a:schemeClr val="bg1"/>
                </a:solidFill>
                <a:latin typeface="+mj-lt"/>
              </a:defRPr>
            </a:lvl1pPr>
            <a:lvl2pPr marL="265113" indent="-174625">
              <a:spcAft>
                <a:spcPts val="0"/>
              </a:spcAft>
              <a:buClr>
                <a:srgbClr val="FFFFFF"/>
              </a:buClr>
              <a:defRPr sz="1100">
                <a:solidFill>
                  <a:schemeClr val="bg1"/>
                </a:solidFill>
              </a:defRPr>
            </a:lvl2pPr>
            <a:lvl3pPr marL="265113" indent="-174625">
              <a:spcAft>
                <a:spcPts val="0"/>
              </a:spcAft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</p:txBody>
      </p:sp>
      <p:sp>
        <p:nvSpPr>
          <p:cNvPr id="36" name="Szöveg helye 9">
            <a:extLst>
              <a:ext uri="{FF2B5EF4-FFF2-40B4-BE49-F238E27FC236}">
                <a16:creationId xmlns:a16="http://schemas.microsoft.com/office/drawing/2014/main" id="{8FB8A6F3-3204-4851-9585-DAD7E30E16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8030" y="2426366"/>
            <a:ext cx="1065887" cy="910141"/>
          </a:xfrm>
          <a:noFill/>
        </p:spPr>
        <p:txBody>
          <a:bodyPr anchor="ctr"/>
          <a:lstStyle>
            <a:lvl1pPr marL="0" indent="0" algn="l">
              <a:spcAft>
                <a:spcPts val="0"/>
              </a:spcAft>
              <a:defRPr sz="1200">
                <a:solidFill>
                  <a:srgbClr val="EA1C0A"/>
                </a:solidFill>
                <a:latin typeface="+mj-lt"/>
              </a:defRPr>
            </a:lvl1pPr>
          </a:lstStyle>
          <a:p>
            <a:pPr lvl="0"/>
            <a:r>
              <a:rPr lang="hu-HU" dirty="0" err="1"/>
              <a:t>Tetx</a:t>
            </a:r>
            <a:r>
              <a:rPr lang="hu-HU" dirty="0"/>
              <a:t> </a:t>
            </a:r>
            <a:r>
              <a:rPr lang="hu-HU" dirty="0" err="1"/>
              <a:t>none</a:t>
            </a:r>
            <a:r>
              <a:rPr lang="hu-HU" dirty="0"/>
              <a:t> </a:t>
            </a:r>
            <a:r>
              <a:rPr lang="hu-HU" dirty="0" err="1"/>
              <a:t>eaqui</a:t>
            </a:r>
            <a:r>
              <a:rPr lang="hu-HU" dirty="0"/>
              <a:t> </a:t>
            </a:r>
            <a:r>
              <a:rPr lang="hu-HU" dirty="0" err="1"/>
              <a:t>dolore</a:t>
            </a:r>
            <a:r>
              <a:rPr lang="hu-HU" dirty="0"/>
              <a:t> som </a:t>
            </a:r>
            <a:r>
              <a:rPr lang="hu-HU" dirty="0" err="1"/>
              <a:t>oluptae</a:t>
            </a:r>
            <a:r>
              <a:rPr lang="hu-HU" dirty="0"/>
              <a:t> 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43C9AB75-A124-417D-854E-AB94CAF25B3F}"/>
              </a:ext>
            </a:extLst>
          </p:cNvPr>
          <p:cNvSpPr txBox="1">
            <a:spLocks/>
          </p:cNvSpPr>
          <p:nvPr userDrawn="1"/>
        </p:nvSpPr>
        <p:spPr>
          <a:xfrm>
            <a:off x="377999" y="318264"/>
            <a:ext cx="4184811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 </a:t>
            </a:r>
            <a:r>
              <a:rPr lang="hu-HU" dirty="0" err="1"/>
              <a:t>Development</a:t>
            </a:r>
            <a:r>
              <a:rPr lang="hu-HU" dirty="0"/>
              <a:t> / </a:t>
            </a:r>
            <a:r>
              <a:rPr lang="hu-HU" dirty="0" err="1"/>
              <a:t>past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future</a:t>
            </a:r>
            <a:endParaRPr lang="en-GB" dirty="0"/>
          </a:p>
        </p:txBody>
      </p:sp>
      <p:sp>
        <p:nvSpPr>
          <p:cNvPr id="38" name="Fußzeilenplatzhalter 6">
            <a:extLst>
              <a:ext uri="{FF2B5EF4-FFF2-40B4-BE49-F238E27FC236}">
                <a16:creationId xmlns:a16="http://schemas.microsoft.com/office/drawing/2014/main" id="{BD70539A-8A0C-4F47-85C6-5C170E39FD24}"/>
              </a:ext>
            </a:extLst>
          </p:cNvPr>
          <p:cNvSpPr txBox="1">
            <a:spLocks/>
          </p:cNvSpPr>
          <p:nvPr userDrawn="1"/>
        </p:nvSpPr>
        <p:spPr>
          <a:xfrm>
            <a:off x="6933816" y="318264"/>
            <a:ext cx="1746000" cy="4307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itle (Change via “Insert/Header &amp; </a:t>
            </a:r>
            <a:r>
              <a:rPr lang="de-DE" dirty="0" err="1"/>
              <a:t>Footer</a:t>
            </a:r>
            <a:r>
              <a:rPr lang="de-DE" dirty="0"/>
              <a:t>”)</a:t>
            </a:r>
          </a:p>
          <a:p>
            <a:endParaRPr lang="hu-HU" dirty="0"/>
          </a:p>
        </p:txBody>
      </p:sp>
      <p:sp>
        <p:nvSpPr>
          <p:cNvPr id="22" name="Dátum helye 2">
            <a:extLst>
              <a:ext uri="{FF2B5EF4-FFF2-40B4-BE49-F238E27FC236}">
                <a16:creationId xmlns:a16="http://schemas.microsoft.com/office/drawing/2014/main" id="{FA4757EE-4EBD-451A-9A05-A6DE1763BC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</p:spPr>
        <p:txBody>
          <a:bodyPr/>
          <a:lstStyle/>
          <a:p>
            <a:fld id="{E84049F9-9C04-4DDF-9AA7-7B9645D37534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24" name="Dia számának helye 4">
            <a:extLst>
              <a:ext uri="{FF2B5EF4-FFF2-40B4-BE49-F238E27FC236}">
                <a16:creationId xmlns:a16="http://schemas.microsoft.com/office/drawing/2014/main" id="{DEC33BE8-7F51-4824-9F26-80540591F8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92400" y="4662000"/>
            <a:ext cx="273600" cy="144000"/>
          </a:xfrm>
        </p:spPr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9995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38" Type="http://schemas.openxmlformats.org/officeDocument/2006/relationships/slideLayout" Target="../slideLayouts/slideLayout138.xml"/><Relationship Id="rId154" Type="http://schemas.openxmlformats.org/officeDocument/2006/relationships/slideLayout" Target="../slideLayouts/slideLayout154.xml"/><Relationship Id="rId159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144" Type="http://schemas.openxmlformats.org/officeDocument/2006/relationships/slideLayout" Target="../slideLayouts/slideLayout144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65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55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61" Type="http://schemas.openxmlformats.org/officeDocument/2006/relationships/slideLayout" Target="../slideLayouts/slideLayout161.xml"/><Relationship Id="rId16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51" Type="http://schemas.openxmlformats.org/officeDocument/2006/relationships/slideLayout" Target="../slideLayouts/slideLayout151.xml"/><Relationship Id="rId156" Type="http://schemas.openxmlformats.org/officeDocument/2006/relationships/slideLayout" Target="../slideLayouts/slideLayout156.xml"/><Relationship Id="rId164" Type="http://schemas.openxmlformats.org/officeDocument/2006/relationships/slideLayout" Target="../slideLayouts/slideLayout164.xml"/><Relationship Id="rId16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8000" y="1371600"/>
            <a:ext cx="6948000" cy="33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736400" y="4662000"/>
            <a:ext cx="756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C421BADD-0F2D-414E-BD75-0469CF7166A6}" type="datetime1">
              <a:rPr lang="hu-HU" smtClean="0"/>
              <a:t>2022. 05. 02.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020000" y="518400"/>
            <a:ext cx="1746000" cy="30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92400" y="4662000"/>
            <a:ext cx="2736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n-lt"/>
              </a:defRPr>
            </a:lvl1pPr>
          </a:lstStyle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94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833" r:id="rId4"/>
    <p:sldLayoutId id="2147483858" r:id="rId5"/>
    <p:sldLayoutId id="2147483859" r:id="rId6"/>
    <p:sldLayoutId id="2147483860" r:id="rId7"/>
    <p:sldLayoutId id="2147483880" r:id="rId8"/>
    <p:sldLayoutId id="2147483834" r:id="rId9"/>
    <p:sldLayoutId id="2147483835" r:id="rId10"/>
    <p:sldLayoutId id="2147483862" r:id="rId11"/>
    <p:sldLayoutId id="2147483836" r:id="rId12"/>
    <p:sldLayoutId id="2147483828" r:id="rId13"/>
    <p:sldLayoutId id="2147483829" r:id="rId14"/>
    <p:sldLayoutId id="2147483830" r:id="rId15"/>
    <p:sldLayoutId id="2147483822" r:id="rId16"/>
    <p:sldLayoutId id="2147483819" r:id="rId17"/>
    <p:sldLayoutId id="2147483820" r:id="rId18"/>
    <p:sldLayoutId id="2147483809" r:id="rId19"/>
    <p:sldLayoutId id="2147483810" r:id="rId20"/>
    <p:sldLayoutId id="2147483811" r:id="rId21"/>
    <p:sldLayoutId id="2147483818" r:id="rId22"/>
    <p:sldLayoutId id="2147483821" r:id="rId23"/>
    <p:sldLayoutId id="2147483735" r:id="rId24"/>
    <p:sldLayoutId id="2147483732" r:id="rId25"/>
    <p:sldLayoutId id="2147483740" r:id="rId26"/>
    <p:sldLayoutId id="2147483812" r:id="rId27"/>
    <p:sldLayoutId id="2147483814" r:id="rId28"/>
    <p:sldLayoutId id="2147483813" r:id="rId29"/>
    <p:sldLayoutId id="2147483827" r:id="rId30"/>
    <p:sldLayoutId id="2147483826" r:id="rId31"/>
    <p:sldLayoutId id="2147483825" r:id="rId32"/>
    <p:sldLayoutId id="2147483824" r:id="rId33"/>
    <p:sldLayoutId id="2147483823" r:id="rId34"/>
    <p:sldLayoutId id="2147483727" r:id="rId35"/>
    <p:sldLayoutId id="2147483728" r:id="rId36"/>
    <p:sldLayoutId id="2147483726" r:id="rId37"/>
    <p:sldLayoutId id="2147483729" r:id="rId38"/>
    <p:sldLayoutId id="2147483879" r:id="rId39"/>
    <p:sldLayoutId id="2147483741" r:id="rId40"/>
    <p:sldLayoutId id="2147483730" r:id="rId41"/>
    <p:sldLayoutId id="2147483731" r:id="rId42"/>
    <p:sldLayoutId id="2147483742" r:id="rId43"/>
    <p:sldLayoutId id="2147483743" r:id="rId44"/>
    <p:sldLayoutId id="2147483744" r:id="rId45"/>
    <p:sldLayoutId id="2147483745" r:id="rId46"/>
    <p:sldLayoutId id="2147483837" r:id="rId47"/>
    <p:sldLayoutId id="2147483896" r:id="rId48"/>
    <p:sldLayoutId id="2147483733" r:id="rId49"/>
    <p:sldLayoutId id="2147483746" r:id="rId50"/>
    <p:sldLayoutId id="2147483734" r:id="rId51"/>
    <p:sldLayoutId id="2147483861" r:id="rId52"/>
    <p:sldLayoutId id="2147483748" r:id="rId53"/>
    <p:sldLayoutId id="2147483863" r:id="rId54"/>
    <p:sldLayoutId id="2147483864" r:id="rId55"/>
    <p:sldLayoutId id="2147483736" r:id="rId56"/>
    <p:sldLayoutId id="2147483749" r:id="rId57"/>
    <p:sldLayoutId id="2147483720" r:id="rId58"/>
    <p:sldLayoutId id="2147483865" r:id="rId59"/>
    <p:sldLayoutId id="2147483869" r:id="rId60"/>
    <p:sldLayoutId id="2147483846" r:id="rId61"/>
    <p:sldLayoutId id="2147483750" r:id="rId62"/>
    <p:sldLayoutId id="2147483751" r:id="rId63"/>
    <p:sldLayoutId id="2147483721" r:id="rId64"/>
    <p:sldLayoutId id="2147483752" r:id="rId65"/>
    <p:sldLayoutId id="2147483753" r:id="rId66"/>
    <p:sldLayoutId id="2147483754" r:id="rId67"/>
    <p:sldLayoutId id="2147483755" r:id="rId68"/>
    <p:sldLayoutId id="2147483756" r:id="rId69"/>
    <p:sldLayoutId id="2147483757" r:id="rId70"/>
    <p:sldLayoutId id="2147483758" r:id="rId71"/>
    <p:sldLayoutId id="2147483759" r:id="rId72"/>
    <p:sldLayoutId id="2147483760" r:id="rId73"/>
    <p:sldLayoutId id="2147483722" r:id="rId74"/>
    <p:sldLayoutId id="2147483900" r:id="rId75"/>
    <p:sldLayoutId id="2147483844" r:id="rId76"/>
    <p:sldLayoutId id="2147483762" r:id="rId77"/>
    <p:sldLayoutId id="2147483764" r:id="rId78"/>
    <p:sldLayoutId id="2147483901" r:id="rId79"/>
    <p:sldLayoutId id="2147483841" r:id="rId80"/>
    <p:sldLayoutId id="2147483899" r:id="rId81"/>
    <p:sldLayoutId id="2147483843" r:id="rId82"/>
    <p:sldLayoutId id="2147483765" r:id="rId83"/>
    <p:sldLayoutId id="2147483766" r:id="rId84"/>
    <p:sldLayoutId id="2147483767" r:id="rId85"/>
    <p:sldLayoutId id="2147483768" r:id="rId86"/>
    <p:sldLayoutId id="2147483770" r:id="rId87"/>
    <p:sldLayoutId id="2147483845" r:id="rId88"/>
    <p:sldLayoutId id="2147483771" r:id="rId89"/>
    <p:sldLayoutId id="2147483772" r:id="rId90"/>
    <p:sldLayoutId id="2147483878" r:id="rId91"/>
    <p:sldLayoutId id="2147483895" r:id="rId92"/>
    <p:sldLayoutId id="2147483867" r:id="rId93"/>
    <p:sldLayoutId id="2147483868" r:id="rId94"/>
    <p:sldLayoutId id="2147483773" r:id="rId95"/>
    <p:sldLayoutId id="2147483847" r:id="rId96"/>
    <p:sldLayoutId id="2147483848" r:id="rId97"/>
    <p:sldLayoutId id="2147483849" r:id="rId98"/>
    <p:sldLayoutId id="2147483774" r:id="rId99"/>
    <p:sldLayoutId id="2147483775" r:id="rId100"/>
    <p:sldLayoutId id="2147483776" r:id="rId101"/>
    <p:sldLayoutId id="2147483777" r:id="rId102"/>
    <p:sldLayoutId id="2147483778" r:id="rId103"/>
    <p:sldLayoutId id="2147483866" r:id="rId104"/>
    <p:sldLayoutId id="2147483838" r:id="rId105"/>
    <p:sldLayoutId id="2147483779" r:id="rId106"/>
    <p:sldLayoutId id="2147483780" r:id="rId107"/>
    <p:sldLayoutId id="2147483782" r:id="rId108"/>
    <p:sldLayoutId id="2147483851" r:id="rId109"/>
    <p:sldLayoutId id="2147483852" r:id="rId110"/>
    <p:sldLayoutId id="2147483781" r:id="rId111"/>
    <p:sldLayoutId id="2147483783" r:id="rId112"/>
    <p:sldLayoutId id="2147483853" r:id="rId113"/>
    <p:sldLayoutId id="2147483784" r:id="rId114"/>
    <p:sldLayoutId id="2147483785" r:id="rId115"/>
    <p:sldLayoutId id="2147483854" r:id="rId116"/>
    <p:sldLayoutId id="2147483786" r:id="rId117"/>
    <p:sldLayoutId id="2147483907" r:id="rId118"/>
    <p:sldLayoutId id="2147483881" r:id="rId119"/>
    <p:sldLayoutId id="2147483870" r:id="rId120"/>
    <p:sldLayoutId id="2147483871" r:id="rId121"/>
    <p:sldLayoutId id="2147483872" r:id="rId122"/>
    <p:sldLayoutId id="2147483873" r:id="rId123"/>
    <p:sldLayoutId id="2147483874" r:id="rId124"/>
    <p:sldLayoutId id="2147483875" r:id="rId125"/>
    <p:sldLayoutId id="2147483876" r:id="rId126"/>
    <p:sldLayoutId id="2147483911" r:id="rId127"/>
    <p:sldLayoutId id="2147483912" r:id="rId128"/>
    <p:sldLayoutId id="2147483877" r:id="rId129"/>
    <p:sldLayoutId id="2147483882" r:id="rId130"/>
    <p:sldLayoutId id="2147483883" r:id="rId131"/>
    <p:sldLayoutId id="2147483884" r:id="rId132"/>
    <p:sldLayoutId id="2147483885" r:id="rId133"/>
    <p:sldLayoutId id="2147483886" r:id="rId134"/>
    <p:sldLayoutId id="2147483887" r:id="rId135"/>
    <p:sldLayoutId id="2147483888" r:id="rId136"/>
    <p:sldLayoutId id="2147483889" r:id="rId137"/>
    <p:sldLayoutId id="2147483890" r:id="rId138"/>
    <p:sldLayoutId id="2147483891" r:id="rId139"/>
    <p:sldLayoutId id="2147483892" r:id="rId140"/>
    <p:sldLayoutId id="2147483893" r:id="rId141"/>
    <p:sldLayoutId id="2147483894" r:id="rId142"/>
    <p:sldLayoutId id="2147483787" r:id="rId143"/>
    <p:sldLayoutId id="2147483788" r:id="rId144"/>
    <p:sldLayoutId id="2147483789" r:id="rId145"/>
    <p:sldLayoutId id="2147483790" r:id="rId146"/>
    <p:sldLayoutId id="2147483839" r:id="rId147"/>
    <p:sldLayoutId id="2147483898" r:id="rId148"/>
    <p:sldLayoutId id="2147483791" r:id="rId149"/>
    <p:sldLayoutId id="2147483792" r:id="rId150"/>
    <p:sldLayoutId id="2147483897" r:id="rId151"/>
    <p:sldLayoutId id="2147483840" r:id="rId152"/>
    <p:sldLayoutId id="2147483793" r:id="rId153"/>
    <p:sldLayoutId id="2147483794" r:id="rId154"/>
    <p:sldLayoutId id="2147483796" r:id="rId155"/>
    <p:sldLayoutId id="2147483856" r:id="rId156"/>
    <p:sldLayoutId id="2147483857" r:id="rId157"/>
    <p:sldLayoutId id="2147483855" r:id="rId158"/>
    <p:sldLayoutId id="2147483797" r:id="rId159"/>
    <p:sldLayoutId id="2147483798" r:id="rId160"/>
    <p:sldLayoutId id="2147483799" r:id="rId161"/>
    <p:sldLayoutId id="2147483800" r:id="rId162"/>
    <p:sldLayoutId id="2147483801" r:id="rId163"/>
    <p:sldLayoutId id="2147483802" r:id="rId164"/>
    <p:sldLayoutId id="2147483913" r:id="rId165"/>
    <p:sldLayoutId id="2147483914" r:id="rId166"/>
    <p:sldLayoutId id="2147483915" r:id="rId167"/>
    <p:sldLayoutId id="2147483916" r:id="rId168"/>
  </p:sldLayoutIdLst>
  <p:hf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400" kern="100" baseline="0">
          <a:solidFill>
            <a:srgbClr val="EA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Clr>
          <a:srgbClr val="EA1C0A"/>
        </a:buClr>
        <a:buFont typeface="EON Brix Sans" panose="020B0500000000000000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aszr%20p&#225;ly&#225;zati%20dokument&#225;ci&#243;" TargetMode="External"/><Relationship Id="rId2" Type="http://schemas.openxmlformats.org/officeDocument/2006/relationships/hyperlink" Target="mailto:aszr@aram.eon.hu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aram.eon.hu" TargetMode="External"/><Relationship Id="rId3" Type="http://schemas.openxmlformats.org/officeDocument/2006/relationships/hyperlink" Target="mailto:araminfo@eon.hu" TargetMode="External"/><Relationship Id="rId7" Type="http://schemas.openxmlformats.org/officeDocument/2006/relationships/hyperlink" Target="mailto:aszr@aram.eon.hu" TargetMode="External"/><Relationship Id="rId2" Type="http://schemas.openxmlformats.org/officeDocument/2006/relationships/hyperlink" Target="mailto:partneraraminfo@eon.com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eon.hu/hu/egyeb/forms/aramlopas-bejelentese.html" TargetMode="External"/><Relationship Id="rId11" Type="http://schemas.openxmlformats.org/officeDocument/2006/relationships/hyperlink" Target="http://www.eon.hu/partnerek" TargetMode="External"/><Relationship Id="rId5" Type="http://schemas.openxmlformats.org/officeDocument/2006/relationships/hyperlink" Target="http://www.eon.hu/" TargetMode="External"/><Relationship Id="rId10" Type="http://schemas.openxmlformats.org/officeDocument/2006/relationships/hyperlink" Target="mailto:bejelentesMMO@elmu.hu" TargetMode="External"/><Relationship Id="rId4" Type="http://schemas.openxmlformats.org/officeDocument/2006/relationships/hyperlink" Target="mailto:aramhalozat@eon.hu" TargetMode="External"/><Relationship Id="rId9" Type="http://schemas.openxmlformats.org/officeDocument/2006/relationships/hyperlink" Target="http://www.eon.hu/pestmegyeihaloza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26A129C-F96C-4F55-8A77-97D968D44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242" y="484094"/>
            <a:ext cx="7194758" cy="1754842"/>
          </a:xfrm>
        </p:spPr>
        <p:txBody>
          <a:bodyPr/>
          <a:lstStyle/>
          <a:p>
            <a:r>
              <a:rPr lang="hu-HU" dirty="0"/>
              <a:t>Regisztrált szerelői rendszer működése E.ON területeken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>
          <a:xfrm>
            <a:off x="6137999" y="3305541"/>
            <a:ext cx="1440000" cy="144000"/>
          </a:xfrm>
        </p:spPr>
        <p:txBody>
          <a:bodyPr/>
          <a:lstStyle/>
          <a:p>
            <a:fld id="{709F0F65-5824-4BD7-8BB5-8C0B6B0CD328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4" name="Szövegdoboz 3"/>
          <p:cNvSpPr txBox="1"/>
          <p:nvPr/>
        </p:nvSpPr>
        <p:spPr>
          <a:xfrm>
            <a:off x="5419746" y="2587572"/>
            <a:ext cx="2158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Soósné Kropp Tünde Szentkirály Benjámin</a:t>
            </a:r>
          </a:p>
        </p:txBody>
      </p:sp>
    </p:spTree>
    <p:extLst>
      <p:ext uri="{BB962C8B-B14F-4D97-AF65-F5344CB8AC3E}">
        <p14:creationId xmlns:p14="http://schemas.microsoft.com/office/powerpoint/2010/main" val="80703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34421" y="246299"/>
            <a:ext cx="7647512" cy="475888"/>
          </a:xfrm>
        </p:spPr>
        <p:txBody>
          <a:bodyPr/>
          <a:lstStyle/>
          <a:p>
            <a:r>
              <a:rPr lang="hu-HU" dirty="0"/>
              <a:t>Etikai eljárás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5B1A8-6F1C-45EA-BA9E-3C3C6C96053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Szövegdoboz 8"/>
          <p:cNvSpPr txBox="1"/>
          <p:nvPr/>
        </p:nvSpPr>
        <p:spPr>
          <a:xfrm>
            <a:off x="2266122" y="1005394"/>
            <a:ext cx="5025223" cy="584775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hu-HU" sz="1600" b="1" dirty="0"/>
              <a:t>MEEVET: regisztrált szerelői képzés jelentkezési feltétele az etikai kódex elfogadása és aláírása RSZ részéről.</a:t>
            </a:r>
          </a:p>
        </p:txBody>
      </p:sp>
      <p:sp>
        <p:nvSpPr>
          <p:cNvPr id="19" name="Téglalap 18"/>
          <p:cNvSpPr/>
          <p:nvPr/>
        </p:nvSpPr>
        <p:spPr>
          <a:xfrm>
            <a:off x="4926839" y="2174944"/>
            <a:ext cx="3565561" cy="26206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/>
          </a:p>
        </p:txBody>
      </p:sp>
      <p:sp>
        <p:nvSpPr>
          <p:cNvPr id="20" name="Tartalom helye 3">
            <a:extLst>
              <a:ext uri="{FF2B5EF4-FFF2-40B4-BE49-F238E27FC236}">
                <a16:creationId xmlns:a16="http://schemas.microsoft.com/office/drawing/2014/main" id="{0ABA25C4-FE27-4683-A000-6555BDDC1041}"/>
              </a:ext>
            </a:extLst>
          </p:cNvPr>
          <p:cNvSpPr txBox="1">
            <a:spLocks/>
          </p:cNvSpPr>
          <p:nvPr/>
        </p:nvSpPr>
        <p:spPr>
          <a:xfrm>
            <a:off x="4926839" y="2538585"/>
            <a:ext cx="3541426" cy="17597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7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Clr>
                <a:srgbClr val="EA1C0A"/>
              </a:buClr>
              <a:buFont typeface="EON Brix Sans" panose="020B0500000000000000" pitchFamily="34" charset="0"/>
              <a:buChar char="•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7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E.ON: belső eljárásrend szerinti etikai kivizsgálások lebonyolítása.</a:t>
            </a:r>
          </a:p>
          <a:p>
            <a:endParaRPr lang="hu-HU" dirty="0"/>
          </a:p>
          <a:p>
            <a:r>
              <a:rPr lang="hu-HU" b="1" dirty="0"/>
              <a:t>Nem megfelelő regisztrált szerelői munkavégzés fokozatai, és szankcionálások mértéke következő dián.</a:t>
            </a:r>
            <a:br>
              <a:rPr lang="hu-HU" dirty="0"/>
            </a:br>
            <a:endParaRPr lang="hu-HU" dirty="0"/>
          </a:p>
          <a:p>
            <a:endParaRPr lang="hu-HU" dirty="0"/>
          </a:p>
        </p:txBody>
      </p:sp>
      <p:sp>
        <p:nvSpPr>
          <p:cNvPr id="21" name="Téglalap 20"/>
          <p:cNvSpPr/>
          <p:nvPr/>
        </p:nvSpPr>
        <p:spPr>
          <a:xfrm>
            <a:off x="1117475" y="2174944"/>
            <a:ext cx="3387659" cy="2586847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2" name="Tartalom helye 2">
            <a:extLst>
              <a:ext uri="{FF2B5EF4-FFF2-40B4-BE49-F238E27FC236}">
                <a16:creationId xmlns:a16="http://schemas.microsoft.com/office/drawing/2014/main" id="{28768783-E161-4518-8B0D-96E83490AF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40953" y="2551016"/>
            <a:ext cx="3140701" cy="2051514"/>
          </a:xfrm>
        </p:spPr>
        <p:txBody>
          <a:bodyPr/>
          <a:lstStyle/>
          <a:p>
            <a:r>
              <a:rPr lang="hu-HU" dirty="0"/>
              <a:t>Az ELMŰ Hálózati Kft. az Ajánlott szerelői minősítést bármely villanyszerelő vállalkozó esetén a pályázati dokumentációban meghatározott minősített esetek fennállása során felfüggesztheti, vagy visszavonhatja. </a:t>
            </a:r>
            <a:endParaRPr lang="hu-HU" b="1" dirty="0"/>
          </a:p>
          <a:p>
            <a:endParaRPr lang="hu-HU" b="1" dirty="0"/>
          </a:p>
          <a:p>
            <a:r>
              <a:rPr lang="hu-HU" b="1" dirty="0"/>
              <a:t>Minősített esetek a pályázati dokumentációban foglaltak alapján.</a:t>
            </a:r>
            <a:endParaRPr lang="hu-HU" dirty="0"/>
          </a:p>
        </p:txBody>
      </p:sp>
      <p:cxnSp>
        <p:nvCxnSpPr>
          <p:cNvPr id="11" name="Egyenes összekötő nyíllal 10"/>
          <p:cNvCxnSpPr>
            <a:stCxn id="9" idx="2"/>
            <a:endCxn id="21" idx="0"/>
          </p:cNvCxnSpPr>
          <p:nvPr/>
        </p:nvCxnSpPr>
        <p:spPr>
          <a:xfrm flipH="1">
            <a:off x="2811305" y="1590169"/>
            <a:ext cx="1967429" cy="584775"/>
          </a:xfrm>
          <a:prstGeom prst="straightConnector1">
            <a:avLst/>
          </a:prstGeom>
          <a:ln w="25400" cmpd="sng">
            <a:solidFill>
              <a:schemeClr val="tx2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gyenes összekötő nyíllal 25"/>
          <p:cNvCxnSpPr>
            <a:stCxn id="9" idx="2"/>
            <a:endCxn id="19" idx="0"/>
          </p:cNvCxnSpPr>
          <p:nvPr/>
        </p:nvCxnSpPr>
        <p:spPr>
          <a:xfrm>
            <a:off x="4778734" y="1590169"/>
            <a:ext cx="1930886" cy="584775"/>
          </a:xfrm>
          <a:prstGeom prst="straightConnector1">
            <a:avLst/>
          </a:prstGeom>
          <a:ln w="25400" cmpd="sng">
            <a:solidFill>
              <a:schemeClr val="tx2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231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2BAD650-8117-4A8E-89D8-5A795A6B0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8000"/>
            <a:ext cx="7990748" cy="720000"/>
          </a:xfrm>
        </p:spPr>
        <p:txBody>
          <a:bodyPr/>
          <a:lstStyle/>
          <a:p>
            <a:r>
              <a:rPr lang="hu-HU" altLang="hu-HU" dirty="0"/>
              <a:t>E.ON Jelenlegi szankciórendszer</a:t>
            </a:r>
            <a:endParaRPr lang="hu-HU" dirty="0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7986595F-6647-40DC-9E02-4C5E367692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00" y="872550"/>
            <a:ext cx="7797812" cy="3398400"/>
          </a:xfrm>
        </p:spPr>
        <p:txBody>
          <a:bodyPr/>
          <a:lstStyle/>
          <a:p>
            <a:r>
              <a:rPr lang="hu-HU" b="1" dirty="0"/>
              <a:t>Nem megfelelő regisztrált szerelői munkavégzés fokozatai, és szankcionálások mértéke:</a:t>
            </a:r>
          </a:p>
          <a:p>
            <a:endParaRPr lang="hu-HU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E53AD617-8241-4FF8-99BB-632EADA47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11</a:t>
            </a:fld>
            <a:endParaRPr lang="de-DE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BA79ECB-6F31-4088-B143-71D86F30887B}"/>
              </a:ext>
            </a:extLst>
          </p:cNvPr>
          <p:cNvGraphicFramePr/>
          <p:nvPr/>
        </p:nvGraphicFramePr>
        <p:xfrm>
          <a:off x="255495" y="1855369"/>
          <a:ext cx="3443356" cy="2255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5" name="Táblázat 14">
            <a:extLst>
              <a:ext uri="{FF2B5EF4-FFF2-40B4-BE49-F238E27FC236}">
                <a16:creationId xmlns:a16="http://schemas.microsoft.com/office/drawing/2014/main" id="{454C4609-1251-4642-BFA8-E23B92F4F12A}"/>
              </a:ext>
            </a:extLst>
          </p:cNvPr>
          <p:cNvGraphicFramePr>
            <a:graphicFrameLocks noGrp="1"/>
          </p:cNvGraphicFramePr>
          <p:nvPr/>
        </p:nvGraphicFramePr>
        <p:xfrm>
          <a:off x="4042610" y="1855369"/>
          <a:ext cx="4449789" cy="27153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7063">
                  <a:extLst>
                    <a:ext uri="{9D8B030D-6E8A-4147-A177-3AD203B41FA5}">
                      <a16:colId xmlns:a16="http://schemas.microsoft.com/office/drawing/2014/main" val="2192894067"/>
                    </a:ext>
                  </a:extLst>
                </a:gridCol>
                <a:gridCol w="822050">
                  <a:extLst>
                    <a:ext uri="{9D8B030D-6E8A-4147-A177-3AD203B41FA5}">
                      <a16:colId xmlns:a16="http://schemas.microsoft.com/office/drawing/2014/main" val="416885779"/>
                    </a:ext>
                  </a:extLst>
                </a:gridCol>
                <a:gridCol w="920338">
                  <a:extLst>
                    <a:ext uri="{9D8B030D-6E8A-4147-A177-3AD203B41FA5}">
                      <a16:colId xmlns:a16="http://schemas.microsoft.com/office/drawing/2014/main" val="499668951"/>
                    </a:ext>
                  </a:extLst>
                </a:gridCol>
                <a:gridCol w="920338">
                  <a:extLst>
                    <a:ext uri="{9D8B030D-6E8A-4147-A177-3AD203B41FA5}">
                      <a16:colId xmlns:a16="http://schemas.microsoft.com/office/drawing/2014/main" val="3612972412"/>
                    </a:ext>
                  </a:extLst>
                </a:gridCol>
              </a:tblGrid>
              <a:tr h="144946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Vétség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Felfüggesztés időtartama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5795"/>
                  </a:ext>
                </a:extLst>
              </a:tr>
              <a:tr h="144946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1 alkalom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2 alkalom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3 alkalom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61861854"/>
                  </a:ext>
                </a:extLst>
              </a:tr>
              <a:tr h="4545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Mérőhely egyeztetett időpontra nem készült el (sikertelen bekapcsolás)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3 hónap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6 hónap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12 hónap és új vizsga kötelezettség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147431060"/>
                  </a:ext>
                </a:extLst>
              </a:tr>
              <a:tr h="8271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Elsőre nem teljesült bekapcsolás (hibajegyzék) 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>
                          <a:effectLst/>
                        </a:rPr>
                        <a:t>hibajegyzék</a:t>
                      </a:r>
                      <a:endParaRPr lang="hu-H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900">
                          <a:effectLst/>
                        </a:rPr>
                        <a:t>etikai meghallgatás + felfüggesztés a hiányosság súlyosságának függvényében </a:t>
                      </a:r>
                      <a:endParaRPr lang="hu-H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900">
                          <a:effectLst/>
                        </a:rPr>
                        <a:t>etikai meghallgatás + új oktatás és vizsga kötelezettség </a:t>
                      </a:r>
                      <a:endParaRPr lang="hu-H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301073766"/>
                  </a:ext>
                </a:extLst>
              </a:tr>
              <a:tr h="8440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1000" dirty="0">
                          <a:effectLst/>
                        </a:rPr>
                        <a:t>Elosztói engedélyeshez érkező fogyasztói panasz</a:t>
                      </a:r>
                      <a:endParaRPr lang="hu-H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900">
                          <a:effectLst/>
                        </a:rPr>
                        <a:t>etikai meghallgatás + felfüggesztés a vétség súlyosságának függvényében </a:t>
                      </a:r>
                      <a:endParaRPr lang="hu-H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900">
                          <a:effectLst/>
                        </a:rPr>
                        <a:t>etikai meghallgatás + új oktatás és vizsga kötelezettség </a:t>
                      </a:r>
                      <a:endParaRPr lang="hu-H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u-HU" sz="900" dirty="0">
                          <a:effectLst/>
                        </a:rPr>
                        <a:t>végleges kizárás</a:t>
                      </a:r>
                      <a:endParaRPr lang="hu-H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811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0323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SZ stratégia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78000" y="1284354"/>
            <a:ext cx="6948000" cy="113736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Két működési rendszer egy platformra hozása (pl. egységes plombabontási rendsz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RSZ folyamatok, harmonizációj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E.ON elosztói engedélyesek közötti átjárhatóság biztosítá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RSZ igényfelmérés alapján történő további működés megterem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718A54-FABF-4FB7-9998-D168DDA1E11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A03D0F3C-8CA4-4D47-BAAD-FF30D809E9D8}"/>
              </a:ext>
            </a:extLst>
          </p:cNvPr>
          <p:cNvSpPr txBox="1"/>
          <p:nvPr/>
        </p:nvSpPr>
        <p:spPr>
          <a:xfrm>
            <a:off x="378000" y="911635"/>
            <a:ext cx="14450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>
                <a:solidFill>
                  <a:srgbClr val="FF0000"/>
                </a:solidFill>
              </a:rPr>
              <a:t>Célkitűzések:</a:t>
            </a:r>
          </a:p>
        </p:txBody>
      </p:sp>
      <p:grpSp>
        <p:nvGrpSpPr>
          <p:cNvPr id="7" name="Csoportba foglalás 6">
            <a:extLst>
              <a:ext uri="{FF2B5EF4-FFF2-40B4-BE49-F238E27FC236}">
                <a16:creationId xmlns:a16="http://schemas.microsoft.com/office/drawing/2014/main" id="{8BD7F3BC-716E-4C13-80BC-B5B8C855AB1C}"/>
              </a:ext>
            </a:extLst>
          </p:cNvPr>
          <p:cNvGrpSpPr/>
          <p:nvPr/>
        </p:nvGrpSpPr>
        <p:grpSpPr>
          <a:xfrm>
            <a:off x="2915293" y="2485501"/>
            <a:ext cx="4966107" cy="2563867"/>
            <a:chOff x="2475600" y="1364974"/>
            <a:chExt cx="5638800" cy="2312505"/>
          </a:xfrm>
        </p:grpSpPr>
        <p:sp>
          <p:nvSpPr>
            <p:cNvPr id="8" name="Téglalap 7">
              <a:extLst>
                <a:ext uri="{FF2B5EF4-FFF2-40B4-BE49-F238E27FC236}">
                  <a16:creationId xmlns:a16="http://schemas.microsoft.com/office/drawing/2014/main" id="{F8A30531-82F4-44D8-9E9E-21148C081E28}"/>
                </a:ext>
              </a:extLst>
            </p:cNvPr>
            <p:cNvSpPr/>
            <p:nvPr/>
          </p:nvSpPr>
          <p:spPr>
            <a:xfrm>
              <a:off x="2475600" y="1364974"/>
              <a:ext cx="5638800" cy="231250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hu-HU" sz="1600" dirty="0">
                  <a:solidFill>
                    <a:schemeClr val="tx1"/>
                  </a:solidFill>
                </a:rPr>
                <a:t>1. szintű </a:t>
              </a:r>
              <a:r>
                <a:rPr lang="hu-HU" sz="1600" dirty="0" err="1">
                  <a:solidFill>
                    <a:schemeClr val="tx1"/>
                  </a:solidFill>
                </a:rPr>
                <a:t>VETr</a:t>
              </a:r>
              <a:r>
                <a:rPr lang="hu-HU" sz="1600" dirty="0">
                  <a:solidFill>
                    <a:schemeClr val="tx1"/>
                  </a:solidFill>
                </a:rPr>
                <a:t> feljogosítás</a:t>
              </a:r>
            </a:p>
            <a:p>
              <a:pPr marL="285750" indent="-285750">
                <a:buFontTx/>
                <a:buChar char="-"/>
              </a:pPr>
              <a:r>
                <a:rPr lang="hu-HU" sz="1600" dirty="0">
                  <a:solidFill>
                    <a:schemeClr val="tx1"/>
                  </a:solidFill>
                </a:rPr>
                <a:t>Mérőhely kivitelezése terv bemutatása nélkül </a:t>
              </a:r>
            </a:p>
            <a:p>
              <a:r>
                <a:rPr lang="hu-HU" sz="1200" dirty="0">
                  <a:solidFill>
                    <a:schemeClr val="tx1"/>
                  </a:solidFill>
                </a:rPr>
                <a:t>E.ON EDE; EED; ELMŰ</a:t>
              </a:r>
            </a:p>
          </p:txBody>
        </p:sp>
        <p:sp>
          <p:nvSpPr>
            <p:cNvPr id="9" name="Téglalap 8">
              <a:extLst>
                <a:ext uri="{FF2B5EF4-FFF2-40B4-BE49-F238E27FC236}">
                  <a16:creationId xmlns:a16="http://schemas.microsoft.com/office/drawing/2014/main" id="{89136FA1-AEDE-4538-83B8-AF7E32ABB1CC}"/>
                </a:ext>
              </a:extLst>
            </p:cNvPr>
            <p:cNvSpPr/>
            <p:nvPr/>
          </p:nvSpPr>
          <p:spPr>
            <a:xfrm>
              <a:off x="4022035" y="1994452"/>
              <a:ext cx="4092365" cy="1683027"/>
            </a:xfrm>
            <a:prstGeom prst="rect">
              <a:avLst/>
            </a:prstGeom>
            <a:solidFill>
              <a:srgbClr val="EAE8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hu-HU" sz="1600" dirty="0">
                  <a:solidFill>
                    <a:schemeClr val="tx1"/>
                  </a:solidFill>
                </a:rPr>
                <a:t>2. szintű E.ON feljogosítás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- Elosztói zárópecsét bontás</a:t>
              </a:r>
              <a:r>
                <a:rPr lang="hu-HU" dirty="0">
                  <a:solidFill>
                    <a:schemeClr val="tx1"/>
                  </a:solidFill>
                </a:rPr>
                <a:t> </a:t>
              </a:r>
              <a:br>
                <a:rPr lang="hu-HU" dirty="0">
                  <a:solidFill>
                    <a:schemeClr val="tx1"/>
                  </a:solidFill>
                </a:rPr>
              </a:br>
              <a:r>
                <a:rPr lang="hu-HU" sz="1200" dirty="0">
                  <a:solidFill>
                    <a:schemeClr val="tx1"/>
                  </a:solidFill>
                </a:rPr>
                <a:t>E.ON Ajánlott Szerelői Rendszer </a:t>
              </a:r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10" name="Téglalap 9">
              <a:extLst>
                <a:ext uri="{FF2B5EF4-FFF2-40B4-BE49-F238E27FC236}">
                  <a16:creationId xmlns:a16="http://schemas.microsoft.com/office/drawing/2014/main" id="{56D423FF-DB60-453D-B198-523FAED00EA1}"/>
                </a:ext>
              </a:extLst>
            </p:cNvPr>
            <p:cNvSpPr/>
            <p:nvPr/>
          </p:nvSpPr>
          <p:spPr>
            <a:xfrm>
              <a:off x="5181600" y="2729948"/>
              <a:ext cx="2932800" cy="947531"/>
            </a:xfrm>
            <a:prstGeom prst="rect">
              <a:avLst/>
            </a:prstGeom>
            <a:solidFill>
              <a:srgbClr val="85D1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r>
                <a:rPr lang="hu-HU" dirty="0">
                  <a:solidFill>
                    <a:schemeClr val="tx1"/>
                  </a:solidFill>
                </a:rPr>
                <a:t>3. szintű E.ON feljogosítás</a:t>
              </a:r>
            </a:p>
            <a:p>
              <a:r>
                <a:rPr lang="hu-HU" sz="1200" dirty="0">
                  <a:solidFill>
                    <a:schemeClr val="tx1"/>
                  </a:solidFill>
                </a:rPr>
                <a:t>Egyéb tevékenységekre feljogosítás Szerződött partnerekkel</a:t>
              </a:r>
            </a:p>
          </p:txBody>
        </p:sp>
      </p:grpSp>
      <p:sp>
        <p:nvSpPr>
          <p:cNvPr id="11" name="Téglalap 10">
            <a:extLst>
              <a:ext uri="{FF2B5EF4-FFF2-40B4-BE49-F238E27FC236}">
                <a16:creationId xmlns:a16="http://schemas.microsoft.com/office/drawing/2014/main" id="{7955CB70-30E7-4EF3-A067-CDD44D23B0F4}"/>
              </a:ext>
            </a:extLst>
          </p:cNvPr>
          <p:cNvSpPr/>
          <p:nvPr/>
        </p:nvSpPr>
        <p:spPr>
          <a:xfrm>
            <a:off x="159705" y="3178455"/>
            <a:ext cx="2205789" cy="11584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400" dirty="0">
                <a:solidFill>
                  <a:schemeClr val="tx1"/>
                </a:solidFill>
              </a:rPr>
              <a:t>Belépő az E.ON rendszerbe:</a:t>
            </a:r>
          </a:p>
          <a:p>
            <a:r>
              <a:rPr lang="hu-HU" sz="1400" dirty="0">
                <a:solidFill>
                  <a:schemeClr val="tx1"/>
                </a:solidFill>
              </a:rPr>
              <a:t>- MEE VET képzésen való részvétel és sikeres vizsga.</a:t>
            </a:r>
          </a:p>
          <a:p>
            <a:r>
              <a:rPr lang="hu-HU" sz="1400" dirty="0">
                <a:solidFill>
                  <a:schemeClr val="tx1"/>
                </a:solidFill>
              </a:rPr>
              <a:t>- Ismeretfelújító képzések elvégzése</a:t>
            </a:r>
          </a:p>
        </p:txBody>
      </p:sp>
      <p:sp>
        <p:nvSpPr>
          <p:cNvPr id="12" name="Jobbra nyíl 9">
            <a:extLst>
              <a:ext uri="{FF2B5EF4-FFF2-40B4-BE49-F238E27FC236}">
                <a16:creationId xmlns:a16="http://schemas.microsoft.com/office/drawing/2014/main" id="{DD522C89-90E4-482A-A4FE-FBB42667653A}"/>
              </a:ext>
            </a:extLst>
          </p:cNvPr>
          <p:cNvSpPr/>
          <p:nvPr/>
        </p:nvSpPr>
        <p:spPr>
          <a:xfrm>
            <a:off x="2427342" y="3578503"/>
            <a:ext cx="487303" cy="377862"/>
          </a:xfrm>
          <a:prstGeom prst="rightArrow">
            <a:avLst/>
          </a:prstGeom>
          <a:solidFill>
            <a:srgbClr val="EB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18237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698106" y="1796040"/>
            <a:ext cx="4338000" cy="932226"/>
          </a:xfrm>
        </p:spPr>
        <p:txBody>
          <a:bodyPr/>
          <a:lstStyle/>
          <a:p>
            <a:pPr algn="ctr"/>
            <a:r>
              <a:rPr lang="hu-HU" sz="3200" dirty="0"/>
              <a:t>Köszönjük megtisztelő figyelmüket!</a:t>
            </a:r>
          </a:p>
        </p:txBody>
      </p:sp>
    </p:spTree>
    <p:extLst>
      <p:ext uri="{BB962C8B-B14F-4D97-AF65-F5344CB8AC3E}">
        <p14:creationId xmlns:p14="http://schemas.microsoft.com/office/powerpoint/2010/main" val="1285641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3ED96F-D155-4001-8AE5-7A822125C66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42" y="383908"/>
            <a:ext cx="8983835" cy="4099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6755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űködési struktúra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718A54-FABF-4FB7-9998-D168DDA1E11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3</a:t>
            </a:fld>
            <a:endParaRPr lang="de-DE"/>
          </a:p>
        </p:txBody>
      </p:sp>
      <p:grpSp>
        <p:nvGrpSpPr>
          <p:cNvPr id="6" name="Csoportba foglalás 5"/>
          <p:cNvGrpSpPr/>
          <p:nvPr/>
        </p:nvGrpSpPr>
        <p:grpSpPr>
          <a:xfrm>
            <a:off x="1177413" y="1026000"/>
            <a:ext cx="6558987" cy="3636000"/>
            <a:chOff x="2475600" y="1364974"/>
            <a:chExt cx="5638800" cy="2312505"/>
          </a:xfrm>
        </p:grpSpPr>
        <p:sp>
          <p:nvSpPr>
            <p:cNvPr id="7" name="Téglalap 6"/>
            <p:cNvSpPr/>
            <p:nvPr/>
          </p:nvSpPr>
          <p:spPr>
            <a:xfrm>
              <a:off x="2475600" y="1364974"/>
              <a:ext cx="5638800" cy="231250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hu-HU" dirty="0">
                  <a:solidFill>
                    <a:schemeClr val="tx1"/>
                  </a:solidFill>
                </a:rPr>
                <a:t>1. szintű </a:t>
              </a:r>
              <a:r>
                <a:rPr lang="hu-HU" dirty="0" err="1">
                  <a:solidFill>
                    <a:schemeClr val="tx1"/>
                  </a:solidFill>
                </a:rPr>
                <a:t>VETr</a:t>
              </a:r>
              <a:r>
                <a:rPr lang="hu-HU" dirty="0">
                  <a:solidFill>
                    <a:schemeClr val="tx1"/>
                  </a:solidFill>
                </a:rPr>
                <a:t> feljogosítás</a:t>
              </a:r>
            </a:p>
            <a:p>
              <a:r>
                <a:rPr lang="hu-HU" dirty="0">
                  <a:solidFill>
                    <a:schemeClr val="tx1"/>
                  </a:solidFill>
                </a:rPr>
                <a:t>- Mérőhely kivitelezése terv bemutatása nélkül </a:t>
              </a:r>
              <a:br>
                <a:rPr lang="hu-HU" dirty="0">
                  <a:solidFill>
                    <a:schemeClr val="tx1"/>
                  </a:solidFill>
                </a:rPr>
              </a:br>
              <a:r>
                <a:rPr lang="hu-HU" sz="1200" dirty="0">
                  <a:solidFill>
                    <a:schemeClr val="tx1"/>
                  </a:solidFill>
                </a:rPr>
                <a:t>(E.ON EDE; EED; ELMŰ Hálózati Kft.)</a:t>
              </a:r>
            </a:p>
          </p:txBody>
        </p:sp>
        <p:sp>
          <p:nvSpPr>
            <p:cNvPr id="8" name="Téglalap 7"/>
            <p:cNvSpPr/>
            <p:nvPr/>
          </p:nvSpPr>
          <p:spPr>
            <a:xfrm>
              <a:off x="4022035" y="1994452"/>
              <a:ext cx="4092365" cy="1683027"/>
            </a:xfrm>
            <a:prstGeom prst="rect">
              <a:avLst/>
            </a:prstGeom>
            <a:solidFill>
              <a:srgbClr val="EAE8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hu-HU" dirty="0">
                  <a:solidFill>
                    <a:schemeClr val="tx1"/>
                  </a:solidFill>
                </a:rPr>
                <a:t>2. szintű E.ON feljogosítás</a:t>
              </a:r>
            </a:p>
            <a:p>
              <a:r>
                <a:rPr lang="hu-HU" dirty="0">
                  <a:solidFill>
                    <a:schemeClr val="tx1"/>
                  </a:solidFill>
                </a:rPr>
                <a:t>- Elosztói zárópecsét bontás </a:t>
              </a:r>
              <a:br>
                <a:rPr lang="hu-HU" dirty="0">
                  <a:solidFill>
                    <a:schemeClr val="tx1"/>
                  </a:solidFill>
                </a:rPr>
              </a:br>
              <a:r>
                <a:rPr lang="hu-HU" sz="1200" dirty="0">
                  <a:solidFill>
                    <a:schemeClr val="tx1"/>
                  </a:solidFill>
                </a:rPr>
                <a:t>(E.ON Partneri Rendszer; ELMŰ Ajánlott Szerelői Rendszer) </a:t>
              </a:r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9" name="Téglalap 8"/>
            <p:cNvSpPr/>
            <p:nvPr/>
          </p:nvSpPr>
          <p:spPr>
            <a:xfrm>
              <a:off x="5181600" y="2729948"/>
              <a:ext cx="2932800" cy="947531"/>
            </a:xfrm>
            <a:prstGeom prst="rect">
              <a:avLst/>
            </a:prstGeom>
            <a:solidFill>
              <a:srgbClr val="85D1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r>
                <a:rPr lang="hu-HU" dirty="0">
                  <a:solidFill>
                    <a:schemeClr val="tx1"/>
                  </a:solidFill>
                </a:rPr>
                <a:t>3. szintű E.ON feljogosítás</a:t>
              </a:r>
            </a:p>
            <a:p>
              <a:r>
                <a:rPr lang="hu-HU" sz="1200" dirty="0">
                  <a:solidFill>
                    <a:schemeClr val="tx1"/>
                  </a:solidFill>
                </a:rPr>
                <a:t>- Szerződött partnerek szabadvezetékes csatlakozó létesítési, 1x32 A-ig teljesítmény bővítés, mérőszerelési és elosztói zárópecsét felhelyezési jogga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2145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34421" y="246299"/>
            <a:ext cx="7647512" cy="475888"/>
          </a:xfrm>
        </p:spPr>
        <p:txBody>
          <a:bodyPr/>
          <a:lstStyle/>
          <a:p>
            <a:r>
              <a:rPr lang="hu-HU" dirty="0"/>
              <a:t>ELMŰ Ajánlott Szerelői Rendszer – E.ON Partneri Rendszer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5B1A8-6F1C-45EA-BA9E-3C3C6C96053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7" name="Szövegdoboz 6"/>
          <p:cNvSpPr txBox="1"/>
          <p:nvPr/>
        </p:nvSpPr>
        <p:spPr>
          <a:xfrm>
            <a:off x="1792827" y="4621334"/>
            <a:ext cx="4930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>
                <a:solidFill>
                  <a:srgbClr val="FF0000"/>
                </a:solidFill>
              </a:rPr>
              <a:t>Jelenleg a két rendszer NEM kiváltója egymásnak!</a:t>
            </a:r>
          </a:p>
        </p:txBody>
      </p:sp>
      <p:grpSp>
        <p:nvGrpSpPr>
          <p:cNvPr id="11" name="Csoportba foglalás 10"/>
          <p:cNvGrpSpPr/>
          <p:nvPr/>
        </p:nvGrpSpPr>
        <p:grpSpPr>
          <a:xfrm>
            <a:off x="4574223" y="828723"/>
            <a:ext cx="3507710" cy="3210027"/>
            <a:chOff x="377998" y="1045518"/>
            <a:chExt cx="3507710" cy="3600487"/>
          </a:xfrm>
        </p:grpSpPr>
        <p:sp>
          <p:nvSpPr>
            <p:cNvPr id="12" name="Téglalap 11"/>
            <p:cNvSpPr/>
            <p:nvPr/>
          </p:nvSpPr>
          <p:spPr>
            <a:xfrm>
              <a:off x="377998" y="1045518"/>
              <a:ext cx="3507710" cy="360048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b="1"/>
            </a:p>
          </p:txBody>
        </p:sp>
        <p:sp>
          <p:nvSpPr>
            <p:cNvPr id="13" name="Tartalom helye 3">
              <a:extLst>
                <a:ext uri="{FF2B5EF4-FFF2-40B4-BE49-F238E27FC236}">
                  <a16:creationId xmlns:a16="http://schemas.microsoft.com/office/drawing/2014/main" id="{0ABA25C4-FE27-4683-A000-6555BDDC1041}"/>
                </a:ext>
              </a:extLst>
            </p:cNvPr>
            <p:cNvSpPr txBox="1">
              <a:spLocks/>
            </p:cNvSpPr>
            <p:nvPr/>
          </p:nvSpPr>
          <p:spPr>
            <a:xfrm>
              <a:off x="377999" y="1334346"/>
              <a:ext cx="3507709" cy="2953173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ts val="175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kern="1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7" algn="l" defTabSz="914400" rtl="0" eaLnBrk="1" latinLnBrk="0" hangingPunct="1">
                <a:lnSpc>
                  <a:spcPts val="175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A1C0A"/>
                </a:buClr>
                <a:buFont typeface="EON Brix Sans" panose="020B0500000000000000" pitchFamily="34" charset="0"/>
                <a:buChar char="•"/>
                <a:defRPr sz="1400" kern="1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lnSpc>
                  <a:spcPts val="175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7" algn="l" defTabSz="914400" rtl="0" eaLnBrk="1" latinLnBrk="0" hangingPunct="1">
                <a:lnSpc>
                  <a:spcPts val="175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400" kern="1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ts val="1750"/>
                </a:lnSpc>
                <a:spcBef>
                  <a:spcPts val="0"/>
                </a:spcBef>
                <a:spcAft>
                  <a:spcPts val="600"/>
                </a:spcAft>
                <a:buFont typeface="Symbol" panose="05050102010706020507" pitchFamily="18" charset="2"/>
                <a:buChar char="-"/>
                <a:defRPr sz="1400" kern="1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hu-HU" i="1" dirty="0"/>
                <a:t>Területi hatály: </a:t>
              </a:r>
              <a:br>
                <a:rPr lang="hu-HU" dirty="0"/>
              </a:br>
              <a:r>
                <a:rPr lang="hu-HU" dirty="0"/>
                <a:t>- E.ON Dél-dunántúli Áramhálózati Zrt.</a:t>
              </a:r>
              <a:br>
                <a:rPr lang="hu-HU" dirty="0"/>
              </a:br>
              <a:r>
                <a:rPr lang="hu-HU" dirty="0"/>
                <a:t>- E.ON Észak-dunántúli Áramhálózati Zrt.</a:t>
              </a:r>
            </a:p>
            <a:p>
              <a:pPr marL="1" lvl="1" indent="0">
                <a:spcAft>
                  <a:spcPts val="0"/>
                </a:spcAft>
                <a:buNone/>
              </a:pPr>
              <a:r>
                <a:rPr lang="hu-HU" i="1" dirty="0"/>
                <a:t>Rendszerbe kerülési feltételek: </a:t>
              </a:r>
              <a:br>
                <a:rPr lang="hu-HU" dirty="0"/>
              </a:br>
              <a:r>
                <a:rPr lang="hu-HU" dirty="0"/>
                <a:t>- Érvényes </a:t>
              </a:r>
              <a:r>
                <a:rPr lang="hu-HU" dirty="0" err="1"/>
                <a:t>VETr</a:t>
              </a:r>
              <a:r>
                <a:rPr lang="hu-HU" dirty="0"/>
                <a:t> minősítés</a:t>
              </a:r>
              <a:br>
                <a:rPr lang="hu-HU" dirty="0"/>
              </a:br>
              <a:r>
                <a:rPr lang="hu-HU" dirty="0"/>
                <a:t>- FAM vizsga, FAM eszközök</a:t>
              </a:r>
              <a:br>
                <a:rPr lang="hu-HU" dirty="0"/>
              </a:br>
              <a:r>
                <a:rPr lang="hu-HU" dirty="0"/>
                <a:t>- Együttműködési megállapodás aláírása,           beküldése</a:t>
              </a:r>
            </a:p>
            <a:p>
              <a:pPr>
                <a:spcAft>
                  <a:spcPts val="0"/>
                </a:spcAft>
              </a:pPr>
              <a:endParaRPr lang="hu-HU" b="1" dirty="0"/>
            </a:p>
            <a:p>
              <a:pPr>
                <a:spcAft>
                  <a:spcPts val="0"/>
                </a:spcAft>
              </a:pPr>
              <a:r>
                <a:rPr lang="hu-HU" b="1" dirty="0"/>
                <a:t>Egy szintű rendszer</a:t>
              </a:r>
            </a:p>
            <a:p>
              <a:br>
                <a:rPr lang="hu-HU" dirty="0"/>
              </a:br>
              <a:endParaRPr lang="hu-HU" dirty="0"/>
            </a:p>
            <a:p>
              <a:endParaRPr lang="hu-HU" dirty="0"/>
            </a:p>
          </p:txBody>
        </p:sp>
      </p:grp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C7E60FF1-6F90-48E0-B204-5963A951F154}"/>
              </a:ext>
            </a:extLst>
          </p:cNvPr>
          <p:cNvSpPr txBox="1"/>
          <p:nvPr/>
        </p:nvSpPr>
        <p:spPr>
          <a:xfrm>
            <a:off x="5580661" y="4084815"/>
            <a:ext cx="14948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b="1" dirty="0">
                <a:solidFill>
                  <a:srgbClr val="FF0000"/>
                </a:solidFill>
              </a:rPr>
              <a:t>E.ON EED, E.ON EDE</a:t>
            </a:r>
          </a:p>
        </p:txBody>
      </p:sp>
      <p:sp>
        <p:nvSpPr>
          <p:cNvPr id="15" name="Téglalap 14"/>
          <p:cNvSpPr/>
          <p:nvPr/>
        </p:nvSpPr>
        <p:spPr>
          <a:xfrm>
            <a:off x="434421" y="824504"/>
            <a:ext cx="3285008" cy="321424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Tartalom helye 2">
            <a:extLst>
              <a:ext uri="{FF2B5EF4-FFF2-40B4-BE49-F238E27FC236}">
                <a16:creationId xmlns:a16="http://schemas.microsoft.com/office/drawing/2014/main" id="{28768783-E161-4518-8B0D-96E83490AF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097" y="993836"/>
            <a:ext cx="3140701" cy="2575907"/>
          </a:xfrm>
        </p:spPr>
        <p:txBody>
          <a:bodyPr/>
          <a:lstStyle/>
          <a:p>
            <a:r>
              <a:rPr lang="hu-HU" i="1" dirty="0"/>
              <a:t>Területi hatály: </a:t>
            </a:r>
            <a:br>
              <a:rPr lang="hu-HU" dirty="0"/>
            </a:br>
            <a:r>
              <a:rPr lang="hu-HU" dirty="0"/>
              <a:t>- ELMŰ Hálózati Kft.</a:t>
            </a:r>
          </a:p>
          <a:p>
            <a:r>
              <a:rPr lang="hu-HU" i="1" dirty="0"/>
              <a:t>Rendszerbe kerülési feltételek: </a:t>
            </a:r>
            <a:br>
              <a:rPr lang="hu-HU" dirty="0"/>
            </a:br>
            <a:r>
              <a:rPr lang="hu-HU" dirty="0"/>
              <a:t>- Érvényes </a:t>
            </a:r>
            <a:r>
              <a:rPr lang="hu-HU" dirty="0" err="1"/>
              <a:t>VETr</a:t>
            </a:r>
            <a:r>
              <a:rPr lang="hu-HU" dirty="0"/>
              <a:t> minősítés</a:t>
            </a:r>
            <a:br>
              <a:rPr lang="hu-HU" dirty="0"/>
            </a:br>
            <a:r>
              <a:rPr lang="hu-HU" dirty="0"/>
              <a:t>- FAM vizsga, FAM eszközök</a:t>
            </a:r>
            <a:br>
              <a:rPr lang="hu-HU" dirty="0"/>
            </a:br>
            <a:r>
              <a:rPr lang="hu-HU" dirty="0"/>
              <a:t>- Pályázati adatlap kitöltése, és beküldése</a:t>
            </a:r>
            <a:br>
              <a:rPr lang="hu-HU" dirty="0"/>
            </a:br>
            <a:r>
              <a:rPr lang="hu-HU" b="1" dirty="0"/>
              <a:t>- Oktatáson való részvétel</a:t>
            </a:r>
            <a:br>
              <a:rPr lang="hu-HU" b="1" dirty="0"/>
            </a:br>
            <a:r>
              <a:rPr lang="hu-HU" b="1" dirty="0"/>
              <a:t>- Aláírt pályázati adatlap, és nyilatkozatok</a:t>
            </a:r>
            <a:br>
              <a:rPr lang="hu-HU" b="1" dirty="0"/>
            </a:br>
            <a:r>
              <a:rPr lang="hu-HU" b="1" dirty="0"/>
              <a:t>- Sikeres vizsga</a:t>
            </a:r>
            <a:endParaRPr lang="hu-HU" dirty="0"/>
          </a:p>
          <a:p>
            <a:r>
              <a:rPr lang="hu-HU" b="1" dirty="0"/>
              <a:t>Két színtű rendszer</a:t>
            </a:r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F5EADC93-E9F0-4D71-8045-EE42A132590C}"/>
              </a:ext>
            </a:extLst>
          </p:cNvPr>
          <p:cNvSpPr txBox="1"/>
          <p:nvPr/>
        </p:nvSpPr>
        <p:spPr>
          <a:xfrm>
            <a:off x="1786150" y="4082656"/>
            <a:ext cx="5725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b="1" dirty="0">
                <a:solidFill>
                  <a:srgbClr val="002060"/>
                </a:solidFill>
              </a:rPr>
              <a:t>ELMŰ</a:t>
            </a:r>
          </a:p>
        </p:txBody>
      </p:sp>
    </p:spTree>
    <p:extLst>
      <p:ext uri="{BB962C8B-B14F-4D97-AF65-F5344CB8AC3E}">
        <p14:creationId xmlns:p14="http://schemas.microsoft.com/office/powerpoint/2010/main" val="2461432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78000" y="378000"/>
            <a:ext cx="6948000" cy="720000"/>
          </a:xfrm>
        </p:spPr>
        <p:txBody>
          <a:bodyPr/>
          <a:lstStyle/>
          <a:p>
            <a:r>
              <a:rPr lang="hu-HU" dirty="0"/>
              <a:t>Soron következő ASZR tanfolyam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78000" y="1351280"/>
            <a:ext cx="6158267" cy="2346960"/>
          </a:xfrm>
        </p:spPr>
        <p:txBody>
          <a:bodyPr/>
          <a:lstStyle/>
          <a:p>
            <a:r>
              <a:rPr lang="hu-HU" altLang="hu-HU" dirty="0"/>
              <a:t>2022. július 11-13. (1 napos képzés)</a:t>
            </a:r>
          </a:p>
          <a:p>
            <a:endParaRPr lang="hu-HU" altLang="hu-HU" dirty="0"/>
          </a:p>
          <a:p>
            <a:pPr marL="571500" indent="-571500">
              <a:buFontTx/>
              <a:buChar char="•"/>
            </a:pPr>
            <a:r>
              <a:rPr lang="hu-HU" altLang="hu-HU" dirty="0"/>
              <a:t>Jelentkezés az </a:t>
            </a:r>
            <a:r>
              <a:rPr lang="hu-HU" altLang="hu-HU" dirty="0">
                <a:hlinkClick r:id="rId2"/>
              </a:rPr>
              <a:t>aszr@aram.eon.hu</a:t>
            </a:r>
            <a:r>
              <a:rPr lang="hu-HU" altLang="hu-HU" dirty="0"/>
              <a:t> címen az alábbi adatok megküldésével</a:t>
            </a:r>
            <a:br>
              <a:rPr lang="hu-HU" altLang="hu-HU" dirty="0"/>
            </a:br>
            <a:r>
              <a:rPr lang="hu-HU" altLang="hu-HU" dirty="0"/>
              <a:t>- Név</a:t>
            </a:r>
            <a:br>
              <a:rPr lang="hu-HU" altLang="hu-HU" dirty="0"/>
            </a:br>
            <a:r>
              <a:rPr lang="hu-HU" altLang="hu-HU" dirty="0"/>
              <a:t>- </a:t>
            </a:r>
            <a:r>
              <a:rPr lang="hu-HU" altLang="hu-HU" dirty="0" err="1"/>
              <a:t>VETr</a:t>
            </a:r>
            <a:r>
              <a:rPr lang="hu-HU" altLang="hu-HU" dirty="0"/>
              <a:t> szám</a:t>
            </a:r>
            <a:br>
              <a:rPr lang="hu-HU" altLang="hu-HU" dirty="0"/>
            </a:br>
            <a:r>
              <a:rPr lang="hu-HU" altLang="hu-HU" dirty="0"/>
              <a:t>- Email cím</a:t>
            </a:r>
          </a:p>
          <a:p>
            <a:pPr marL="571500" indent="-571500">
              <a:buFontTx/>
              <a:buChar char="•"/>
            </a:pPr>
            <a:endParaRPr lang="hu-HU" altLang="hu-HU" dirty="0"/>
          </a:p>
          <a:p>
            <a:pPr marL="571500" indent="-571500">
              <a:buFontTx/>
              <a:buChar char="•"/>
            </a:pPr>
            <a:r>
              <a:rPr lang="hu-HU" altLang="hu-HU" dirty="0"/>
              <a:t>Pályázati dokumentáció elérhetősége: </a:t>
            </a:r>
            <a:r>
              <a:rPr lang="hu-HU" sz="1800" u="sng" dirty="0" err="1">
                <a:solidFill>
                  <a:srgbClr val="000000"/>
                </a:solidFill>
                <a:effectLst/>
                <a:latin typeface="EON Brix Sans" panose="020B0500000000000000" pitchFamily="34" charset="-18"/>
                <a:ea typeface="Calibri" panose="020F0502020204030204" pitchFamily="34" charset="0"/>
                <a:cs typeface="Calibri" panose="020F0502020204030204" pitchFamily="34" charset="0"/>
                <a:hlinkClick r:id="rId3" action="ppaction://hlinkfile"/>
              </a:rPr>
              <a:t>aszr</a:t>
            </a:r>
            <a:r>
              <a:rPr lang="hu-HU" sz="1800" u="sng" dirty="0">
                <a:solidFill>
                  <a:srgbClr val="000000"/>
                </a:solidFill>
                <a:effectLst/>
                <a:latin typeface="EON Brix Sans" panose="020B0500000000000000" pitchFamily="34" charset="-18"/>
                <a:ea typeface="Calibri" panose="020F0502020204030204" pitchFamily="34" charset="0"/>
                <a:cs typeface="Calibri" panose="020F0502020204030204" pitchFamily="34" charset="0"/>
                <a:hlinkClick r:id="rId3" action="ppaction://hlinkfile"/>
              </a:rPr>
              <a:t> pályázati dokumentáció</a:t>
            </a:r>
            <a:endParaRPr lang="hu-HU" altLang="hu-HU" dirty="0"/>
          </a:p>
          <a:p>
            <a:endParaRPr lang="hu-HU" dirty="0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99E31-2C7C-411B-9E37-E39A5073AD2A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8" name="Dia számának hely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499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78" y="251908"/>
            <a:ext cx="7378022" cy="4693695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397" y="42953"/>
            <a:ext cx="5508000" cy="354916"/>
          </a:xfrm>
        </p:spPr>
        <p:txBody>
          <a:bodyPr/>
          <a:lstStyle/>
          <a:p>
            <a:r>
              <a:rPr lang="hu-HU" dirty="0"/>
              <a:t>Jogosultsági szintek</a:t>
            </a:r>
            <a:br>
              <a:rPr lang="hu-HU" dirty="0"/>
            </a:br>
            <a:endParaRPr lang="hu-HU" dirty="0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C3F82-F754-41EB-9594-060BB95BEF52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02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78000" y="140675"/>
            <a:ext cx="5508000" cy="720000"/>
          </a:xfrm>
        </p:spPr>
        <p:txBody>
          <a:bodyPr/>
          <a:lstStyle/>
          <a:p>
            <a:r>
              <a:rPr lang="hu-HU" dirty="0"/>
              <a:t>Tevékenységi határok I.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718A54-FABF-4FB7-9998-D168DDA1E11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7" name="Tartalom helye 3">
            <a:extLst>
              <a:ext uri="{FF2B5EF4-FFF2-40B4-BE49-F238E27FC236}">
                <a16:creationId xmlns:a16="http://schemas.microsoft.com/office/drawing/2014/main" id="{88B0D1CA-6432-47DA-A282-5447E8A89518}"/>
              </a:ext>
            </a:extLst>
          </p:cNvPr>
          <p:cNvSpPr txBox="1">
            <a:spLocks/>
          </p:cNvSpPr>
          <p:nvPr/>
        </p:nvSpPr>
        <p:spPr>
          <a:xfrm>
            <a:off x="377999" y="1334346"/>
            <a:ext cx="3507709" cy="295317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7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Clr>
                <a:srgbClr val="EA1C0A"/>
              </a:buClr>
              <a:buFont typeface="EON Brix Sans" panose="020B0500000000000000" pitchFamily="34" charset="0"/>
              <a:buChar char="•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7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hu-HU" dirty="0"/>
            </a:br>
            <a:endParaRPr lang="hu-HU" dirty="0"/>
          </a:p>
          <a:p>
            <a:endParaRPr lang="hu-HU" dirty="0"/>
          </a:p>
        </p:txBody>
      </p:sp>
      <p:graphicFrame>
        <p:nvGraphicFramePr>
          <p:cNvPr id="8" name="Táblázat 7">
            <a:extLst>
              <a:ext uri="{FF2B5EF4-FFF2-40B4-BE49-F238E27FC236}">
                <a16:creationId xmlns:a16="http://schemas.microsoft.com/office/drawing/2014/main" id="{DEC847F6-D10F-4052-AE68-0EAF404334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311556"/>
              </p:ext>
            </p:extLst>
          </p:nvPr>
        </p:nvGraphicFramePr>
        <p:xfrm>
          <a:off x="431531" y="1337928"/>
          <a:ext cx="7926107" cy="30107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94634">
                  <a:extLst>
                    <a:ext uri="{9D8B030D-6E8A-4147-A177-3AD203B41FA5}">
                      <a16:colId xmlns:a16="http://schemas.microsoft.com/office/drawing/2014/main" val="4253131496"/>
                    </a:ext>
                  </a:extLst>
                </a:gridCol>
                <a:gridCol w="1885328">
                  <a:extLst>
                    <a:ext uri="{9D8B030D-6E8A-4147-A177-3AD203B41FA5}">
                      <a16:colId xmlns:a16="http://schemas.microsoft.com/office/drawing/2014/main" val="4270687374"/>
                    </a:ext>
                  </a:extLst>
                </a:gridCol>
                <a:gridCol w="2046145">
                  <a:extLst>
                    <a:ext uri="{9D8B030D-6E8A-4147-A177-3AD203B41FA5}">
                      <a16:colId xmlns:a16="http://schemas.microsoft.com/office/drawing/2014/main" val="3931801175"/>
                    </a:ext>
                  </a:extLst>
                </a:gridCol>
              </a:tblGrid>
              <a:tr h="369148">
                <a:tc>
                  <a:txBody>
                    <a:bodyPr/>
                    <a:lstStyle/>
                    <a:p>
                      <a:pPr algn="ctr"/>
                      <a:r>
                        <a:rPr lang="hu-HU" sz="1600" b="1" dirty="0"/>
                        <a:t>Tevékenyé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b="1" dirty="0" err="1"/>
                        <a:t>VETr</a:t>
                      </a:r>
                      <a:endParaRPr lang="hu-H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/>
                        <a:t>Plombabontási jogosultsággal rendelkező RSZ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40412"/>
                  </a:ext>
                </a:extLst>
              </a:tr>
              <a:tr h="402706">
                <a:tc>
                  <a:txBody>
                    <a:bodyPr/>
                    <a:lstStyle/>
                    <a:p>
                      <a:r>
                        <a:rPr lang="hu-HU" sz="1400" b="1" dirty="0"/>
                        <a:t>Munkavégzés mért</a:t>
                      </a:r>
                      <a:r>
                        <a:rPr lang="hu-HU" sz="1400" b="1" baseline="0" dirty="0"/>
                        <a:t> felhasználói hálózaton</a:t>
                      </a:r>
                      <a:endParaRPr lang="hu-HU" sz="14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Engedélyezet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Engedélyezet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063435"/>
                  </a:ext>
                </a:extLst>
              </a:tr>
              <a:tr h="4027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b="1" dirty="0"/>
                        <a:t>Új mérőhely</a:t>
                      </a:r>
                      <a:r>
                        <a:rPr lang="hu-HU" sz="1400" b="1" baseline="0" dirty="0"/>
                        <a:t> létesítése</a:t>
                      </a:r>
                      <a:endParaRPr lang="hu-HU" sz="14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Engedélyezet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Engedélyezet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958711"/>
                  </a:ext>
                </a:extLst>
              </a:tr>
              <a:tr h="4033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b="1" dirty="0"/>
                        <a:t>Elosztói</a:t>
                      </a:r>
                      <a:r>
                        <a:rPr lang="hu-HU" sz="1400" b="1" baseline="0" dirty="0"/>
                        <a:t> </a:t>
                      </a:r>
                      <a:r>
                        <a:rPr lang="hu-HU" sz="1400" b="1" baseline="0" dirty="0" err="1"/>
                        <a:t>engedélyesi</a:t>
                      </a:r>
                      <a:r>
                        <a:rPr lang="hu-HU" sz="1400" b="1" baseline="0" dirty="0"/>
                        <a:t> zárópecsét bontása</a:t>
                      </a:r>
                      <a:endParaRPr lang="hu-HU" sz="14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Engedélyezet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73231"/>
                  </a:ext>
                </a:extLst>
              </a:tr>
              <a:tr h="4027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b="1" dirty="0"/>
                        <a:t>Mérési pont megváltoztatása/megszűntetése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907581"/>
                  </a:ext>
                </a:extLst>
              </a:tr>
              <a:tr h="402706">
                <a:tc>
                  <a:txBody>
                    <a:bodyPr/>
                    <a:lstStyle/>
                    <a:p>
                      <a:r>
                        <a:rPr lang="hu-HU" sz="1400" b="1" dirty="0"/>
                        <a:t>Csatlakozó létesítése/megszűntetése/cseréje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365582"/>
                  </a:ext>
                </a:extLst>
              </a:tr>
              <a:tr h="569821">
                <a:tc>
                  <a:txBody>
                    <a:bodyPr/>
                    <a:lstStyle/>
                    <a:p>
                      <a:r>
                        <a:rPr lang="hu-HU" sz="1400" b="1" dirty="0"/>
                        <a:t>Csatlakozási pont megváltoztatása/megszűntetése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dirty="0"/>
                        <a:t>Tilo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546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0587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evékenységi határok II.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78000" y="1098000"/>
            <a:ext cx="6948000" cy="3398400"/>
          </a:xfrm>
        </p:spPr>
        <p:txBody>
          <a:bodyPr/>
          <a:lstStyle/>
          <a:p>
            <a:r>
              <a:rPr lang="hu-HU" b="1" i="1" dirty="0"/>
              <a:t>MEE – VET jogosultság</a:t>
            </a:r>
          </a:p>
          <a:p>
            <a:r>
              <a:rPr lang="hu-HU" dirty="0"/>
              <a:t>Új bekapcsolás esetén tipizált mérőhelyek létesítése a csatlakozási ponton terv előzetes bemutatása nélkül. </a:t>
            </a:r>
          </a:p>
          <a:p>
            <a:r>
              <a:rPr lang="hu-HU" dirty="0"/>
              <a:t>Határozott, 3 év időtartamra szóló </a:t>
            </a:r>
          </a:p>
          <a:p>
            <a:endParaRPr lang="hu-HU" dirty="0"/>
          </a:p>
          <a:p>
            <a:r>
              <a:rPr lang="hu-HU" b="1" i="1" dirty="0"/>
              <a:t>ASZR rendszer / Partneri Rendszer</a:t>
            </a:r>
          </a:p>
          <a:p>
            <a:r>
              <a:rPr lang="hu-HU" dirty="0"/>
              <a:t>Meglévő felhasználási helyek igényeivel összefüggő kivitelezési tevékenységek esetén bejelentést követő elosztói </a:t>
            </a:r>
            <a:r>
              <a:rPr lang="hu-HU" dirty="0" err="1"/>
              <a:t>engedélyesi</a:t>
            </a:r>
            <a:r>
              <a:rPr lang="hu-HU" dirty="0"/>
              <a:t> zárópecsét bontás. </a:t>
            </a:r>
          </a:p>
          <a:p>
            <a:r>
              <a:rPr lang="hu-HU" dirty="0"/>
              <a:t>Határozatlan ideig, visszavonásig érvényes – folytonosan érvényes </a:t>
            </a:r>
            <a:r>
              <a:rPr lang="hu-HU" dirty="0" err="1"/>
              <a:t>VETr</a:t>
            </a:r>
            <a:r>
              <a:rPr lang="hu-HU" dirty="0"/>
              <a:t> igazolvány mellett</a:t>
            </a:r>
          </a:p>
          <a:p>
            <a:r>
              <a:rPr lang="hu-HU" b="1" dirty="0">
                <a:solidFill>
                  <a:srgbClr val="FF0000"/>
                </a:solidFill>
              </a:rPr>
              <a:t>Az Ajánlott szerelői minősítés nélkül plombát bontó szerelők 5 évig nem pályázhatnak az Ajánlott szerelői minősítés elnyerésére, valamint az etikai kódex alapján regisztrációjuk törlését kezdeményezzük a MEE VET rendszeréből is. </a:t>
            </a:r>
          </a:p>
          <a:p>
            <a:endParaRPr lang="hu-HU" dirty="0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AED45F-B947-4757-A39B-ED70D64CF2FB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8" name="Dia számának hely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9289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718A54-FABF-4FB7-9998-D168DDA1E119}" type="datetime1">
              <a:rPr lang="hu-HU" smtClean="0"/>
              <a:t>2022. 05. 02.</a:t>
            </a:fld>
            <a:endParaRPr lang="de-DE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Cím 1"/>
          <p:cNvSpPr>
            <a:spLocks noGrp="1"/>
          </p:cNvSpPr>
          <p:nvPr>
            <p:ph type="title"/>
          </p:nvPr>
        </p:nvSpPr>
        <p:spPr>
          <a:xfrm>
            <a:off x="377999" y="108988"/>
            <a:ext cx="7350373" cy="351789"/>
          </a:xfrm>
        </p:spPr>
        <p:txBody>
          <a:bodyPr/>
          <a:lstStyle/>
          <a:p>
            <a:r>
              <a:rPr lang="hu-HU" dirty="0"/>
              <a:t>Ügyviteli megoldások, elérhetőségek</a:t>
            </a:r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E3318A8E-065B-4215-A038-8F3583C373F6}"/>
              </a:ext>
            </a:extLst>
          </p:cNvPr>
          <p:cNvSpPr/>
          <p:nvPr/>
        </p:nvSpPr>
        <p:spPr>
          <a:xfrm>
            <a:off x="4814210" y="1020152"/>
            <a:ext cx="3595818" cy="3042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lnSpc>
                <a:spcPts val="175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400" kern="100" dirty="0">
                <a:solidFill>
                  <a:srgbClr val="000000"/>
                </a:solidFill>
              </a:rPr>
              <a:t>Partneri Rendszer működésével, és jogosultsággal, rendszerrel kapcsolatos megkeresések: </a:t>
            </a:r>
            <a:r>
              <a:rPr lang="hu-HU" sz="1400" kern="100" dirty="0">
                <a:solidFill>
                  <a:srgbClr val="000000"/>
                </a:solidFill>
                <a:hlinkClick r:id="rId2"/>
              </a:rPr>
              <a:t>partneraraminfo@eon.com</a:t>
            </a:r>
            <a:endParaRPr lang="hu-HU" sz="1400" kern="100" dirty="0">
              <a:solidFill>
                <a:srgbClr val="000000"/>
              </a:solidFill>
            </a:endParaRPr>
          </a:p>
          <a:p>
            <a:pPr marL="285750" lvl="0" indent="-285750">
              <a:lnSpc>
                <a:spcPts val="175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400" kern="100" dirty="0">
                <a:solidFill>
                  <a:srgbClr val="000000"/>
                </a:solidFill>
              </a:rPr>
              <a:t>Központi email címek:</a:t>
            </a:r>
            <a:br>
              <a:rPr lang="hu-HU" sz="1400" kern="100" dirty="0">
                <a:solidFill>
                  <a:srgbClr val="000000"/>
                </a:solidFill>
              </a:rPr>
            </a:br>
            <a:r>
              <a:rPr lang="hu-HU" sz="1400" kern="100" dirty="0">
                <a:solidFill>
                  <a:srgbClr val="000000"/>
                </a:solidFill>
                <a:hlinkClick r:id="rId3"/>
              </a:rPr>
              <a:t>araminfo@eon.hu</a:t>
            </a:r>
            <a:r>
              <a:rPr lang="hu-HU" sz="1400" kern="100" dirty="0">
                <a:solidFill>
                  <a:srgbClr val="000000"/>
                </a:solidFill>
              </a:rPr>
              <a:t>; </a:t>
            </a:r>
            <a:r>
              <a:rPr lang="hu-HU" sz="1400" kern="100" dirty="0">
                <a:solidFill>
                  <a:srgbClr val="000000"/>
                </a:solidFill>
                <a:hlinkClick r:id="rId4"/>
              </a:rPr>
              <a:t>aramhalozat@eon.hu</a:t>
            </a:r>
            <a:endParaRPr lang="hu-HU" sz="1400" kern="100" dirty="0">
              <a:solidFill>
                <a:srgbClr val="000000"/>
              </a:solidFill>
            </a:endParaRPr>
          </a:p>
          <a:p>
            <a:pPr marL="285750" lvl="0" indent="-285750">
              <a:lnSpc>
                <a:spcPts val="175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400" kern="100" dirty="0">
                <a:solidFill>
                  <a:srgbClr val="000000"/>
                </a:solidFill>
              </a:rPr>
              <a:t>Honlap – E.ON </a:t>
            </a:r>
            <a:r>
              <a:rPr lang="hu-HU" sz="1400" kern="100" dirty="0">
                <a:solidFill>
                  <a:srgbClr val="000000"/>
                </a:solidFill>
                <a:hlinkClick r:id="rId5"/>
              </a:rPr>
              <a:t>www.eon.hu</a:t>
            </a:r>
            <a:r>
              <a:rPr lang="hu-HU" sz="1400" kern="100" dirty="0">
                <a:solidFill>
                  <a:srgbClr val="000000"/>
                </a:solidFill>
              </a:rPr>
              <a:t> </a:t>
            </a:r>
          </a:p>
          <a:p>
            <a:pPr marL="285750" lvl="0" indent="-285750">
              <a:lnSpc>
                <a:spcPts val="175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400" kern="100" dirty="0">
                <a:solidFill>
                  <a:srgbClr val="000000"/>
                </a:solidFill>
                <a:sym typeface="Wingdings" panose="05000000000000000000" pitchFamily="2" charset="2"/>
              </a:rPr>
              <a:t>Szerződésszegés, szabálytalan vételezés, szerződés nélkül vételezés bejelentése:</a:t>
            </a:r>
            <a:br>
              <a:rPr lang="hu-HU" sz="1400" kern="100" dirty="0">
                <a:solidFill>
                  <a:srgbClr val="000000"/>
                </a:solidFill>
                <a:sym typeface="Wingdings" panose="05000000000000000000" pitchFamily="2" charset="2"/>
              </a:rPr>
            </a:br>
            <a:r>
              <a:rPr lang="hu-HU" sz="1400" dirty="0">
                <a:hlinkClick r:id="rId6"/>
              </a:rPr>
              <a:t>Áramlopás bejelentése (eon.hu)</a:t>
            </a:r>
            <a:endParaRPr lang="hu-HU" sz="1400" kern="100" dirty="0">
              <a:solidFill>
                <a:srgbClr val="000000"/>
              </a:solidFill>
            </a:endParaRPr>
          </a:p>
        </p:txBody>
      </p:sp>
      <p:sp>
        <p:nvSpPr>
          <p:cNvPr id="8" name="Téglalap 7">
            <a:extLst>
              <a:ext uri="{FF2B5EF4-FFF2-40B4-BE49-F238E27FC236}">
                <a16:creationId xmlns:a16="http://schemas.microsoft.com/office/drawing/2014/main" id="{C74BC3D8-8EA4-404A-A40A-E982EC410206}"/>
              </a:ext>
            </a:extLst>
          </p:cNvPr>
          <p:cNvSpPr/>
          <p:nvPr/>
        </p:nvSpPr>
        <p:spPr>
          <a:xfrm>
            <a:off x="754139" y="1020152"/>
            <a:ext cx="3595819" cy="304253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Tartalom helye 2">
            <a:extLst>
              <a:ext uri="{FF2B5EF4-FFF2-40B4-BE49-F238E27FC236}">
                <a16:creationId xmlns:a16="http://schemas.microsoft.com/office/drawing/2014/main" id="{1D7D0540-27C2-4EE4-B641-5CDC823CB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139" y="1492975"/>
            <a:ext cx="3595819" cy="257301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SZR Rendszer működésével, és jogosultsággal, rendszerrel kapcsolatos megkeresések: </a:t>
            </a:r>
            <a:r>
              <a:rPr lang="hu-HU" dirty="0">
                <a:hlinkClick r:id="rId7"/>
              </a:rPr>
              <a:t>aszr@aram.eon.hu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Központi email – ELMŰ Hálózati Kft.: </a:t>
            </a:r>
            <a:r>
              <a:rPr lang="hu-HU" dirty="0">
                <a:hlinkClick r:id="rId8"/>
              </a:rPr>
              <a:t>info@aram.eon.hu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Honlap – ELMŰ Hálózati Kft.: </a:t>
            </a:r>
            <a:r>
              <a:rPr lang="hu-HU" dirty="0">
                <a:hlinkClick r:id="rId9"/>
              </a:rPr>
              <a:t>www.eon.hu/pestmegyeihalozat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ym typeface="Wingdings" panose="05000000000000000000" pitchFamily="2" charset="2"/>
              </a:rPr>
              <a:t>Szerződésszegés, szabálytalan vételezés, szerződés nélkül vételezés bejelentése:</a:t>
            </a:r>
            <a:br>
              <a:rPr lang="hu-HU" dirty="0">
                <a:sym typeface="Wingdings" panose="05000000000000000000" pitchFamily="2" charset="2"/>
              </a:rPr>
            </a:br>
            <a:r>
              <a:rPr lang="hu-HU" dirty="0">
                <a:sym typeface="Wingdings" panose="05000000000000000000" pitchFamily="2" charset="2"/>
              </a:rPr>
              <a:t>	 </a:t>
            </a:r>
            <a:r>
              <a:rPr lang="hu-HU" dirty="0">
                <a:sym typeface="Wingdings" panose="05000000000000000000" pitchFamily="2" charset="2"/>
                <a:hlinkClick r:id="rId10"/>
              </a:rPr>
              <a:t>bejelentesMMO@elmu.hu</a:t>
            </a:r>
            <a:r>
              <a:rPr lang="hu-HU" dirty="0">
                <a:sym typeface="Wingdings" panose="05000000000000000000" pitchFamily="2" charset="2"/>
              </a:rPr>
              <a:t> </a:t>
            </a:r>
            <a:endParaRPr lang="hu-HU" dirty="0"/>
          </a:p>
        </p:txBody>
      </p:sp>
      <p:sp>
        <p:nvSpPr>
          <p:cNvPr id="10" name="Tartalom helye 3">
            <a:extLst>
              <a:ext uri="{FF2B5EF4-FFF2-40B4-BE49-F238E27FC236}">
                <a16:creationId xmlns:a16="http://schemas.microsoft.com/office/drawing/2014/main" id="{1BFBF067-772A-4953-9CDC-1CD4755DF395}"/>
              </a:ext>
            </a:extLst>
          </p:cNvPr>
          <p:cNvSpPr txBox="1">
            <a:spLocks/>
          </p:cNvSpPr>
          <p:nvPr/>
        </p:nvSpPr>
        <p:spPr>
          <a:xfrm>
            <a:off x="377999" y="1020152"/>
            <a:ext cx="3507709" cy="27295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7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Clr>
                <a:srgbClr val="EA1C0A"/>
              </a:buClr>
              <a:buFont typeface="EON Brix Sans" panose="020B0500000000000000" pitchFamily="34" charset="0"/>
              <a:buChar char="•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7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hu-HU" dirty="0"/>
            </a:br>
            <a:endParaRPr lang="hu-HU" dirty="0"/>
          </a:p>
          <a:p>
            <a:endParaRPr lang="hu-HU" dirty="0"/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C67C539C-6347-4843-94B0-BDFF10DC312E}"/>
              </a:ext>
            </a:extLst>
          </p:cNvPr>
          <p:cNvSpPr txBox="1"/>
          <p:nvPr/>
        </p:nvSpPr>
        <p:spPr>
          <a:xfrm>
            <a:off x="5864702" y="4085345"/>
            <a:ext cx="14948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b="1" dirty="0">
                <a:solidFill>
                  <a:srgbClr val="FF0000"/>
                </a:solidFill>
              </a:rPr>
              <a:t>E.ON EED, E.ON EDE</a:t>
            </a:r>
          </a:p>
        </p:txBody>
      </p:sp>
      <p:sp>
        <p:nvSpPr>
          <p:cNvPr id="12" name="Szövegdoboz 11">
            <a:extLst>
              <a:ext uri="{FF2B5EF4-FFF2-40B4-BE49-F238E27FC236}">
                <a16:creationId xmlns:a16="http://schemas.microsoft.com/office/drawing/2014/main" id="{C7880B3A-855C-4641-95CD-FAE02BB77AA7}"/>
              </a:ext>
            </a:extLst>
          </p:cNvPr>
          <p:cNvSpPr txBox="1"/>
          <p:nvPr/>
        </p:nvSpPr>
        <p:spPr>
          <a:xfrm>
            <a:off x="2265751" y="4062690"/>
            <a:ext cx="5725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b="1" dirty="0">
                <a:solidFill>
                  <a:srgbClr val="002060"/>
                </a:solidFill>
              </a:rPr>
              <a:t>ELMŰ</a:t>
            </a:r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06460AA0-6EB0-4D47-B1FB-49BABB5A6437}"/>
              </a:ext>
            </a:extLst>
          </p:cNvPr>
          <p:cNvSpPr txBox="1"/>
          <p:nvPr/>
        </p:nvSpPr>
        <p:spPr>
          <a:xfrm>
            <a:off x="2387786" y="548547"/>
            <a:ext cx="39243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800" kern="100" dirty="0">
                <a:solidFill>
                  <a:srgbClr val="000000"/>
                </a:solidFill>
              </a:rPr>
              <a:t>Partneri honlap: </a:t>
            </a:r>
            <a:r>
              <a:rPr lang="hu-HU" sz="1800" kern="100" dirty="0">
                <a:solidFill>
                  <a:srgbClr val="000000"/>
                </a:solidFill>
                <a:hlinkClick r:id="rId11"/>
              </a:rPr>
              <a:t>www.eon.hu/partnere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32058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ONVorlage_BrixSans"/>
  <p:tag name="VERSION" val="1.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t_iujaKUi31Z.hgDgY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KM9D2szU6To0x3oQ2z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nMux3UWkCbFFGY.TLD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9uRaeb2UClcCFRbL5vvg"/>
</p:tagLst>
</file>

<file path=ppt/theme/theme1.xml><?xml version="1.0" encoding="utf-8"?>
<a:theme xmlns:a="http://schemas.openxmlformats.org/drawingml/2006/main" name="e-on Enjoyment Template">
  <a:themeElements>
    <a:clrScheme name="E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C0A"/>
      </a:accent1>
      <a:accent2>
        <a:srgbClr val="B00402"/>
      </a:accent2>
      <a:accent3>
        <a:srgbClr val="5CC1CB"/>
      </a:accent3>
      <a:accent4>
        <a:srgbClr val="E3E000"/>
      </a:accent4>
      <a:accent5>
        <a:srgbClr val="C44341"/>
      </a:accent5>
      <a:accent6>
        <a:srgbClr val="85D1D8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75%">
      <a:srgbClr val="C44341"/>
    </a:custClr>
    <a:custClr name="Turquoise 75%">
      <a:srgbClr val="85D1D8"/>
    </a:custClr>
    <a:custClr name="Yellow 75%">
      <a:srgbClr val="EAE84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50%">
      <a:srgbClr val="D78180"/>
    </a:custClr>
    <a:custClr name="Turquoise 50%">
      <a:srgbClr val="ADE0E5"/>
    </a:custClr>
    <a:custClr name="Yellow 50%">
      <a:srgbClr val="F1EF7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25%">
      <a:srgbClr val="EBC0C0"/>
    </a:custClr>
    <a:custClr name="Turquoise 25%">
      <a:srgbClr val="D6EFF2"/>
    </a:custClr>
    <a:custClr name="Yellow 25%">
      <a:srgbClr val="F8F7BF"/>
    </a:custClr>
    <a:custClr name=" ">
      <a:srgbClr val="FFFFFF"/>
    </a:custClr>
    <a:custClr name=" "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7353</TotalTime>
  <Words>943</Words>
  <Application>Microsoft Office PowerPoint</Application>
  <PresentationFormat>Diavetítés a képernyőre (16:9 oldalarány)</PresentationFormat>
  <Paragraphs>150</Paragraphs>
  <Slides>13</Slides>
  <Notes>2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Diacímek</vt:lpstr>
      </vt:variant>
      <vt:variant>
        <vt:i4>13</vt:i4>
      </vt:variant>
    </vt:vector>
  </HeadingPairs>
  <TitlesOfParts>
    <vt:vector size="19" baseType="lpstr">
      <vt:lpstr>Arial</vt:lpstr>
      <vt:lpstr>Calibri</vt:lpstr>
      <vt:lpstr>EON Brix Sans</vt:lpstr>
      <vt:lpstr>EON Brix Sans Black</vt:lpstr>
      <vt:lpstr>Symbol</vt:lpstr>
      <vt:lpstr>e-on Enjoyment Template</vt:lpstr>
      <vt:lpstr>Regisztrált szerelői rendszer működése E.ON területeken</vt:lpstr>
      <vt:lpstr>PowerPoint-bemutató</vt:lpstr>
      <vt:lpstr>Működési struktúra</vt:lpstr>
      <vt:lpstr>ELMŰ Ajánlott Szerelői Rendszer – E.ON Partneri Rendszer</vt:lpstr>
      <vt:lpstr>Soron következő ASZR tanfolyam</vt:lpstr>
      <vt:lpstr>Jogosultsági szintek </vt:lpstr>
      <vt:lpstr>Tevékenységi határok I.</vt:lpstr>
      <vt:lpstr>Tevékenységi határok II.</vt:lpstr>
      <vt:lpstr>Ügyviteli megoldások, elérhetőségek</vt:lpstr>
      <vt:lpstr>Etikai eljárás</vt:lpstr>
      <vt:lpstr>E.ON Jelenlegi szankciórendszer</vt:lpstr>
      <vt:lpstr>RSZ stratégia</vt:lpstr>
      <vt:lpstr>Köszönjük megtisztelő figyelmüke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with less colour</dc:title>
  <dc:creator>Petra</dc:creator>
  <dc:description>V1.5h, E.ON Enjoyment Musterfolien</dc:description>
  <cp:lastModifiedBy>Soósné Kropp, Tünde</cp:lastModifiedBy>
  <cp:revision>766</cp:revision>
  <dcterms:created xsi:type="dcterms:W3CDTF">2017-02-05T19:26:59Z</dcterms:created>
  <dcterms:modified xsi:type="dcterms:W3CDTF">2022-05-02T11:57:06Z</dcterms:modified>
</cp:coreProperties>
</file>